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9"/>
  </p:notesMasterIdLst>
  <p:sldIdLst>
    <p:sldId id="633" r:id="rId2"/>
    <p:sldId id="517" r:id="rId3"/>
    <p:sldId id="640" r:id="rId4"/>
    <p:sldId id="575" r:id="rId5"/>
    <p:sldId id="632" r:id="rId6"/>
    <p:sldId id="635" r:id="rId7"/>
    <p:sldId id="650" r:id="rId8"/>
    <p:sldId id="651" r:id="rId9"/>
    <p:sldId id="652" r:id="rId10"/>
    <p:sldId id="653" r:id="rId11"/>
    <p:sldId id="654" r:id="rId12"/>
    <p:sldId id="644" r:id="rId13"/>
    <p:sldId id="637" r:id="rId14"/>
    <p:sldId id="627" r:id="rId15"/>
    <p:sldId id="645" r:id="rId16"/>
    <p:sldId id="647" r:id="rId17"/>
    <p:sldId id="310" r:id="rId18"/>
  </p:sldIdLst>
  <p:sldSz cx="12192000" cy="6858000"/>
  <p:notesSz cx="6858000" cy="9144000"/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546A"/>
    <a:srgbClr val="357FC2"/>
    <a:srgbClr val="204ECF"/>
    <a:srgbClr val="FC8637"/>
    <a:srgbClr val="79B84F"/>
    <a:srgbClr val="FFCC05"/>
    <a:srgbClr val="F2F2F2"/>
    <a:srgbClr val="4E5D72"/>
    <a:srgbClr val="FFCC29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544" autoAdjust="0"/>
    <p:restoredTop sz="93636" autoAdjust="0"/>
  </p:normalViewPr>
  <p:slideViewPr>
    <p:cSldViewPr snapToGrid="0" snapToObjects="1">
      <p:cViewPr>
        <p:scale>
          <a:sx n="116" d="100"/>
          <a:sy n="116" d="100"/>
        </p:scale>
        <p:origin x="-300" y="16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97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02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1F362D7-5D44-4B00-BD52-C6D807A0BB5C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EBD2166D-F6D6-4A0E-A96A-CF4E270AEA66}">
      <dgm:prSet phldrT="[Texto]"/>
      <dgm:spPr>
        <a:solidFill>
          <a:srgbClr val="79B84F"/>
        </a:solidFill>
        <a:ln>
          <a:solidFill>
            <a:srgbClr val="79B84F"/>
          </a:solidFill>
        </a:ln>
      </dgm:spPr>
      <dgm:t>
        <a:bodyPr/>
        <a:lstStyle/>
        <a:p>
          <a:r>
            <a:rPr lang="en-US" b="1" dirty="0" smtClean="0"/>
            <a:t>2 ) </a:t>
          </a:r>
          <a:r>
            <a:rPr lang="en-US" b="1" dirty="0" err="1" smtClean="0"/>
            <a:t>Compilación</a:t>
          </a:r>
          <a:endParaRPr lang="en-US" b="1" dirty="0"/>
        </a:p>
      </dgm:t>
    </dgm:pt>
    <dgm:pt modelId="{15AEBD27-68E6-4FD8-81E1-D96091BF7761}" type="parTrans" cxnId="{B6D30342-E9A5-47A5-899D-FB9724C410CF}">
      <dgm:prSet/>
      <dgm:spPr/>
      <dgm:t>
        <a:bodyPr/>
        <a:lstStyle/>
        <a:p>
          <a:endParaRPr lang="en-US"/>
        </a:p>
      </dgm:t>
    </dgm:pt>
    <dgm:pt modelId="{E2B67EA4-4A66-4939-B1A7-A0294FF31507}" type="sibTrans" cxnId="{B6D30342-E9A5-47A5-899D-FB9724C410CF}">
      <dgm:prSet/>
      <dgm:spPr/>
      <dgm:t>
        <a:bodyPr/>
        <a:lstStyle/>
        <a:p>
          <a:endParaRPr lang="en-US"/>
        </a:p>
      </dgm:t>
    </dgm:pt>
    <dgm:pt modelId="{205D6425-E88E-4696-803C-22C01DEF8902}">
      <dgm:prSet phldrT="[Texto]"/>
      <dgm:spPr>
        <a:solidFill>
          <a:srgbClr val="FFCC05"/>
        </a:solidFill>
        <a:ln>
          <a:solidFill>
            <a:srgbClr val="FFCC05"/>
          </a:solidFill>
        </a:ln>
      </dgm:spPr>
      <dgm:t>
        <a:bodyPr/>
        <a:lstStyle/>
        <a:p>
          <a:r>
            <a:rPr lang="en-US" b="1" dirty="0" smtClean="0"/>
            <a:t>3 ) </a:t>
          </a:r>
          <a:r>
            <a:rPr lang="en-US" b="1" dirty="0" err="1" smtClean="0"/>
            <a:t>Ejecución</a:t>
          </a:r>
          <a:r>
            <a:rPr lang="en-US" b="1" dirty="0" smtClean="0"/>
            <a:t> de </a:t>
          </a:r>
          <a:r>
            <a:rPr lang="en-US" b="1" dirty="0" err="1" smtClean="0"/>
            <a:t>pruebas</a:t>
          </a:r>
          <a:endParaRPr lang="en-US" b="1" dirty="0"/>
        </a:p>
      </dgm:t>
    </dgm:pt>
    <dgm:pt modelId="{E1449BCB-2791-43F5-8E9A-D930E1B45F01}" type="parTrans" cxnId="{0D2C18E1-D537-4637-97DE-C263245D730C}">
      <dgm:prSet/>
      <dgm:spPr/>
      <dgm:t>
        <a:bodyPr/>
        <a:lstStyle/>
        <a:p>
          <a:endParaRPr lang="en-US"/>
        </a:p>
      </dgm:t>
    </dgm:pt>
    <dgm:pt modelId="{8DAAD10B-6C9A-4788-8B7A-A3AC2C05DEF9}" type="sibTrans" cxnId="{0D2C18E1-D537-4637-97DE-C263245D730C}">
      <dgm:prSet/>
      <dgm:spPr/>
      <dgm:t>
        <a:bodyPr/>
        <a:lstStyle/>
        <a:p>
          <a:endParaRPr lang="en-US"/>
        </a:p>
      </dgm:t>
    </dgm:pt>
    <dgm:pt modelId="{3CF60453-62D2-4C17-920C-0A87682D2649}">
      <dgm:prSet phldrT="[Texto]"/>
      <dgm:spPr>
        <a:solidFill>
          <a:srgbClr val="357FC2"/>
        </a:solidFill>
        <a:ln>
          <a:solidFill>
            <a:srgbClr val="357FC2"/>
          </a:solidFill>
        </a:ln>
      </dgm:spPr>
      <dgm:t>
        <a:bodyPr/>
        <a:lstStyle/>
        <a:p>
          <a:r>
            <a:rPr lang="en-US" b="1" dirty="0" smtClean="0"/>
            <a:t>4 ) </a:t>
          </a:r>
          <a:r>
            <a:rPr lang="en-US" b="1" dirty="0" err="1" smtClean="0"/>
            <a:t>Análisis</a:t>
          </a:r>
          <a:r>
            <a:rPr lang="en-US" b="1" dirty="0" smtClean="0"/>
            <a:t> </a:t>
          </a:r>
          <a:r>
            <a:rPr lang="en-US" b="1" dirty="0" err="1" smtClean="0"/>
            <a:t>estático</a:t>
          </a:r>
          <a:endParaRPr lang="en-US" b="1" dirty="0"/>
        </a:p>
      </dgm:t>
    </dgm:pt>
    <dgm:pt modelId="{77F4A4C4-3C05-433D-B5EF-7FDC60869810}" type="parTrans" cxnId="{892C84DC-E7C6-4D07-BD4F-E571552FFA61}">
      <dgm:prSet/>
      <dgm:spPr/>
      <dgm:t>
        <a:bodyPr/>
        <a:lstStyle/>
        <a:p>
          <a:endParaRPr lang="en-US"/>
        </a:p>
      </dgm:t>
    </dgm:pt>
    <dgm:pt modelId="{7919EF2F-EF6B-4B6B-89E9-B7B44BF0DF66}" type="sibTrans" cxnId="{892C84DC-E7C6-4D07-BD4F-E571552FFA61}">
      <dgm:prSet/>
      <dgm:spPr/>
      <dgm:t>
        <a:bodyPr/>
        <a:lstStyle/>
        <a:p>
          <a:endParaRPr lang="en-US"/>
        </a:p>
      </dgm:t>
    </dgm:pt>
    <dgm:pt modelId="{1AA428F1-73F3-44C5-879B-AAF8EDC3784E}">
      <dgm:prSet phldrT="[Texto]"/>
      <dgm:spPr>
        <a:solidFill>
          <a:srgbClr val="FC8637"/>
        </a:solidFill>
        <a:ln>
          <a:solidFill>
            <a:srgbClr val="FC8637"/>
          </a:solidFill>
        </a:ln>
      </dgm:spPr>
      <dgm:t>
        <a:bodyPr/>
        <a:lstStyle/>
        <a:p>
          <a:r>
            <a:rPr lang="en-US" b="1" dirty="0" smtClean="0"/>
            <a:t>1 ) </a:t>
          </a:r>
          <a:r>
            <a:rPr lang="en-US" b="1" dirty="0" err="1" smtClean="0"/>
            <a:t>Descarga</a:t>
          </a:r>
          <a:r>
            <a:rPr lang="en-US" b="1" dirty="0" smtClean="0"/>
            <a:t> de </a:t>
          </a:r>
          <a:r>
            <a:rPr lang="en-US" b="1" dirty="0" err="1" smtClean="0"/>
            <a:t>código</a:t>
          </a:r>
          <a:r>
            <a:rPr lang="en-US" b="1" dirty="0" smtClean="0"/>
            <a:t> </a:t>
          </a:r>
          <a:endParaRPr lang="en-US" b="1" dirty="0"/>
        </a:p>
      </dgm:t>
    </dgm:pt>
    <dgm:pt modelId="{9360D82D-1509-41B2-A433-01471C853269}" type="parTrans" cxnId="{CA1DAF83-636F-42B9-99CD-169948C9E7B8}">
      <dgm:prSet/>
      <dgm:spPr/>
      <dgm:t>
        <a:bodyPr/>
        <a:lstStyle/>
        <a:p>
          <a:endParaRPr lang="en-US"/>
        </a:p>
      </dgm:t>
    </dgm:pt>
    <dgm:pt modelId="{87F60E0A-7106-4073-A2F7-120178BC3B9A}" type="sibTrans" cxnId="{CA1DAF83-636F-42B9-99CD-169948C9E7B8}">
      <dgm:prSet/>
      <dgm:spPr>
        <a:ln>
          <a:solidFill>
            <a:srgbClr val="357FC2"/>
          </a:solidFill>
        </a:ln>
      </dgm:spPr>
      <dgm:t>
        <a:bodyPr/>
        <a:lstStyle/>
        <a:p>
          <a:endParaRPr lang="en-US"/>
        </a:p>
      </dgm:t>
    </dgm:pt>
    <dgm:pt modelId="{23715CD9-387E-45CF-8AA5-2B2B0232C71C}" type="pres">
      <dgm:prSet presAssocID="{71F362D7-5D44-4B00-BD52-C6D807A0BB5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9C2FC2A9-FCAA-43B3-9069-BDA4EDF93598}" type="pres">
      <dgm:prSet presAssocID="{71F362D7-5D44-4B00-BD52-C6D807A0BB5C}" presName="Name1" presStyleCnt="0"/>
      <dgm:spPr/>
    </dgm:pt>
    <dgm:pt modelId="{E371D4FC-5CDE-4153-8B0B-ABC69862CEC0}" type="pres">
      <dgm:prSet presAssocID="{71F362D7-5D44-4B00-BD52-C6D807A0BB5C}" presName="cycle" presStyleCnt="0"/>
      <dgm:spPr/>
    </dgm:pt>
    <dgm:pt modelId="{16379CEC-C2B4-4735-84CB-ECC9748BE185}" type="pres">
      <dgm:prSet presAssocID="{71F362D7-5D44-4B00-BD52-C6D807A0BB5C}" presName="srcNode" presStyleLbl="node1" presStyleIdx="0" presStyleCnt="4"/>
      <dgm:spPr/>
    </dgm:pt>
    <dgm:pt modelId="{655D998E-4A98-4DFC-BEB8-39DE1D668C55}" type="pres">
      <dgm:prSet presAssocID="{71F362D7-5D44-4B00-BD52-C6D807A0BB5C}" presName="conn" presStyleLbl="parChTrans1D2" presStyleIdx="0" presStyleCnt="1"/>
      <dgm:spPr/>
      <dgm:t>
        <a:bodyPr/>
        <a:lstStyle/>
        <a:p>
          <a:endParaRPr lang="en-US"/>
        </a:p>
      </dgm:t>
    </dgm:pt>
    <dgm:pt modelId="{1BA231A2-6476-4B6E-BCE5-FD83B15727D0}" type="pres">
      <dgm:prSet presAssocID="{71F362D7-5D44-4B00-BD52-C6D807A0BB5C}" presName="extraNode" presStyleLbl="node1" presStyleIdx="0" presStyleCnt="4"/>
      <dgm:spPr/>
    </dgm:pt>
    <dgm:pt modelId="{FA09A4A5-0266-4F19-98F9-178E11DFD9EA}" type="pres">
      <dgm:prSet presAssocID="{71F362D7-5D44-4B00-BD52-C6D807A0BB5C}" presName="dstNode" presStyleLbl="node1" presStyleIdx="0" presStyleCnt="4"/>
      <dgm:spPr/>
    </dgm:pt>
    <dgm:pt modelId="{53274B59-64B1-4510-A897-A5F52F5EC695}" type="pres">
      <dgm:prSet presAssocID="{1AA428F1-73F3-44C5-879B-AAF8EDC3784E}" presName="text_1" presStyleLbl="node1" presStyleIdx="0" presStyleCnt="4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en-US"/>
        </a:p>
      </dgm:t>
    </dgm:pt>
    <dgm:pt modelId="{B629270E-8479-4B10-B2BC-4973552AECBD}" type="pres">
      <dgm:prSet presAssocID="{1AA428F1-73F3-44C5-879B-AAF8EDC3784E}" presName="accent_1" presStyleCnt="0"/>
      <dgm:spPr/>
    </dgm:pt>
    <dgm:pt modelId="{0418DFE2-97D2-4583-BDCC-94A8C87F990A}" type="pres">
      <dgm:prSet presAssocID="{1AA428F1-73F3-44C5-879B-AAF8EDC3784E}" presName="accentRepeatNode" presStyleLbl="solidFgAcc1" presStyleIdx="0" presStyleCnt="4"/>
      <dgm:spPr>
        <a:ln>
          <a:solidFill>
            <a:srgbClr val="FC8637"/>
          </a:solidFill>
        </a:ln>
      </dgm:spPr>
      <dgm:t>
        <a:bodyPr/>
        <a:lstStyle/>
        <a:p>
          <a:endParaRPr lang="es-ES"/>
        </a:p>
      </dgm:t>
    </dgm:pt>
    <dgm:pt modelId="{8CC897A8-1B26-4298-92BE-28105FD16079}" type="pres">
      <dgm:prSet presAssocID="{EBD2166D-F6D6-4A0E-A96A-CF4E270AEA66}" presName="text_2" presStyleLbl="node1" presStyleIdx="1" presStyleCnt="4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en-US"/>
        </a:p>
      </dgm:t>
    </dgm:pt>
    <dgm:pt modelId="{D02E527B-CA1B-452E-9EB0-6B3549A482CF}" type="pres">
      <dgm:prSet presAssocID="{EBD2166D-F6D6-4A0E-A96A-CF4E270AEA66}" presName="accent_2" presStyleCnt="0"/>
      <dgm:spPr/>
    </dgm:pt>
    <dgm:pt modelId="{7C1C7742-726E-48C5-B641-FEECF99B5373}" type="pres">
      <dgm:prSet presAssocID="{EBD2166D-F6D6-4A0E-A96A-CF4E270AEA66}" presName="accentRepeatNode" presStyleLbl="solidFgAcc1" presStyleIdx="1" presStyleCnt="4"/>
      <dgm:spPr>
        <a:ln>
          <a:solidFill>
            <a:srgbClr val="79B84F"/>
          </a:solidFill>
        </a:ln>
      </dgm:spPr>
      <dgm:t>
        <a:bodyPr/>
        <a:lstStyle/>
        <a:p>
          <a:endParaRPr lang="en-US"/>
        </a:p>
      </dgm:t>
    </dgm:pt>
    <dgm:pt modelId="{0E5D5634-25A9-49D6-A8FA-033DD89C8BCA}" type="pres">
      <dgm:prSet presAssocID="{205D6425-E88E-4696-803C-22C01DEF8902}" presName="text_3" presStyleLbl="node1" presStyleIdx="2" presStyleCnt="4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en-US"/>
        </a:p>
      </dgm:t>
    </dgm:pt>
    <dgm:pt modelId="{EE4E9DB3-09AC-4A74-A6F7-FC21B05E5290}" type="pres">
      <dgm:prSet presAssocID="{205D6425-E88E-4696-803C-22C01DEF8902}" presName="accent_3" presStyleCnt="0"/>
      <dgm:spPr/>
    </dgm:pt>
    <dgm:pt modelId="{F4217230-3626-414D-8C8B-3EC2DA399F4A}" type="pres">
      <dgm:prSet presAssocID="{205D6425-E88E-4696-803C-22C01DEF8902}" presName="accentRepeatNode" presStyleLbl="solidFgAcc1" presStyleIdx="2" presStyleCnt="4"/>
      <dgm:spPr>
        <a:ln>
          <a:solidFill>
            <a:srgbClr val="FFCC05"/>
          </a:solidFill>
        </a:ln>
      </dgm:spPr>
      <dgm:t>
        <a:bodyPr/>
        <a:lstStyle/>
        <a:p>
          <a:endParaRPr lang="es-ES"/>
        </a:p>
      </dgm:t>
    </dgm:pt>
    <dgm:pt modelId="{CF420C10-D2A5-4923-A602-F73661542CF7}" type="pres">
      <dgm:prSet presAssocID="{3CF60453-62D2-4C17-920C-0A87682D2649}" presName="text_4" presStyleLbl="node1" presStyleIdx="3" presStyleCnt="4">
        <dgm:presLayoutVars>
          <dgm:bulletEnabled val="1"/>
        </dgm:presLayoutVars>
      </dgm:prSet>
      <dgm:spPr>
        <a:prstGeom prst="flowChartAlternateProcess">
          <a:avLst/>
        </a:prstGeom>
      </dgm:spPr>
      <dgm:t>
        <a:bodyPr/>
        <a:lstStyle/>
        <a:p>
          <a:endParaRPr lang="en-US"/>
        </a:p>
      </dgm:t>
    </dgm:pt>
    <dgm:pt modelId="{6DC1F164-702B-4C21-B77B-CDA8915C5D0D}" type="pres">
      <dgm:prSet presAssocID="{3CF60453-62D2-4C17-920C-0A87682D2649}" presName="accent_4" presStyleCnt="0"/>
      <dgm:spPr/>
    </dgm:pt>
    <dgm:pt modelId="{4DCC9EDB-CEA5-4C63-9061-79D115D54E15}" type="pres">
      <dgm:prSet presAssocID="{3CF60453-62D2-4C17-920C-0A87682D2649}" presName="accentRepeatNode" presStyleLbl="solidFgAcc1" presStyleIdx="3" presStyleCnt="4"/>
      <dgm:spPr>
        <a:ln>
          <a:solidFill>
            <a:srgbClr val="357FC2"/>
          </a:solidFill>
        </a:ln>
      </dgm:spPr>
      <dgm:t>
        <a:bodyPr/>
        <a:lstStyle/>
        <a:p>
          <a:endParaRPr lang="es-ES"/>
        </a:p>
      </dgm:t>
    </dgm:pt>
  </dgm:ptLst>
  <dgm:cxnLst>
    <dgm:cxn modelId="{FFEA45C5-1987-4648-B56F-DDC4B0A6001F}" type="presOf" srcId="{205D6425-E88E-4696-803C-22C01DEF8902}" destId="{0E5D5634-25A9-49D6-A8FA-033DD89C8BCA}" srcOrd="0" destOrd="0" presId="urn:microsoft.com/office/officeart/2008/layout/VerticalCurvedList"/>
    <dgm:cxn modelId="{C1722605-D4D5-4407-8212-32B14600B68F}" type="presOf" srcId="{3CF60453-62D2-4C17-920C-0A87682D2649}" destId="{CF420C10-D2A5-4923-A602-F73661542CF7}" srcOrd="0" destOrd="0" presId="urn:microsoft.com/office/officeart/2008/layout/VerticalCurvedList"/>
    <dgm:cxn modelId="{EB2689D2-55D8-496D-A580-528D520146F4}" type="presOf" srcId="{71F362D7-5D44-4B00-BD52-C6D807A0BB5C}" destId="{23715CD9-387E-45CF-8AA5-2B2B0232C71C}" srcOrd="0" destOrd="0" presId="urn:microsoft.com/office/officeart/2008/layout/VerticalCurvedList"/>
    <dgm:cxn modelId="{EC2EB2F4-D34B-4EC2-AE97-21A66D539ADA}" type="presOf" srcId="{EBD2166D-F6D6-4A0E-A96A-CF4E270AEA66}" destId="{8CC897A8-1B26-4298-92BE-28105FD16079}" srcOrd="0" destOrd="0" presId="urn:microsoft.com/office/officeart/2008/layout/VerticalCurvedList"/>
    <dgm:cxn modelId="{ED542FD7-34CD-49A2-957C-9CE846E1193B}" type="presOf" srcId="{1AA428F1-73F3-44C5-879B-AAF8EDC3784E}" destId="{53274B59-64B1-4510-A897-A5F52F5EC695}" srcOrd="0" destOrd="0" presId="urn:microsoft.com/office/officeart/2008/layout/VerticalCurvedList"/>
    <dgm:cxn modelId="{892C84DC-E7C6-4D07-BD4F-E571552FFA61}" srcId="{71F362D7-5D44-4B00-BD52-C6D807A0BB5C}" destId="{3CF60453-62D2-4C17-920C-0A87682D2649}" srcOrd="3" destOrd="0" parTransId="{77F4A4C4-3C05-433D-B5EF-7FDC60869810}" sibTransId="{7919EF2F-EF6B-4B6B-89E9-B7B44BF0DF66}"/>
    <dgm:cxn modelId="{0D2C18E1-D537-4637-97DE-C263245D730C}" srcId="{71F362D7-5D44-4B00-BD52-C6D807A0BB5C}" destId="{205D6425-E88E-4696-803C-22C01DEF8902}" srcOrd="2" destOrd="0" parTransId="{E1449BCB-2791-43F5-8E9A-D930E1B45F01}" sibTransId="{8DAAD10B-6C9A-4788-8B7A-A3AC2C05DEF9}"/>
    <dgm:cxn modelId="{E080D5AB-DA15-47D7-A86C-4F407F881892}" type="presOf" srcId="{87F60E0A-7106-4073-A2F7-120178BC3B9A}" destId="{655D998E-4A98-4DFC-BEB8-39DE1D668C55}" srcOrd="0" destOrd="0" presId="urn:microsoft.com/office/officeart/2008/layout/VerticalCurvedList"/>
    <dgm:cxn modelId="{CA1DAF83-636F-42B9-99CD-169948C9E7B8}" srcId="{71F362D7-5D44-4B00-BD52-C6D807A0BB5C}" destId="{1AA428F1-73F3-44C5-879B-AAF8EDC3784E}" srcOrd="0" destOrd="0" parTransId="{9360D82D-1509-41B2-A433-01471C853269}" sibTransId="{87F60E0A-7106-4073-A2F7-120178BC3B9A}"/>
    <dgm:cxn modelId="{B6D30342-E9A5-47A5-899D-FB9724C410CF}" srcId="{71F362D7-5D44-4B00-BD52-C6D807A0BB5C}" destId="{EBD2166D-F6D6-4A0E-A96A-CF4E270AEA66}" srcOrd="1" destOrd="0" parTransId="{15AEBD27-68E6-4FD8-81E1-D96091BF7761}" sibTransId="{E2B67EA4-4A66-4939-B1A7-A0294FF31507}"/>
    <dgm:cxn modelId="{3CD79F38-B792-47AB-983B-3282E3C8CA9E}" type="presParOf" srcId="{23715CD9-387E-45CF-8AA5-2B2B0232C71C}" destId="{9C2FC2A9-FCAA-43B3-9069-BDA4EDF93598}" srcOrd="0" destOrd="0" presId="urn:microsoft.com/office/officeart/2008/layout/VerticalCurvedList"/>
    <dgm:cxn modelId="{9B394225-0E20-4117-97E4-4E54403AB096}" type="presParOf" srcId="{9C2FC2A9-FCAA-43B3-9069-BDA4EDF93598}" destId="{E371D4FC-5CDE-4153-8B0B-ABC69862CEC0}" srcOrd="0" destOrd="0" presId="urn:microsoft.com/office/officeart/2008/layout/VerticalCurvedList"/>
    <dgm:cxn modelId="{318AD214-E8BD-46AB-9275-CF076974BA1E}" type="presParOf" srcId="{E371D4FC-5CDE-4153-8B0B-ABC69862CEC0}" destId="{16379CEC-C2B4-4735-84CB-ECC9748BE185}" srcOrd="0" destOrd="0" presId="urn:microsoft.com/office/officeart/2008/layout/VerticalCurvedList"/>
    <dgm:cxn modelId="{F2FA7024-F3A5-431C-8DFF-33D495057561}" type="presParOf" srcId="{E371D4FC-5CDE-4153-8B0B-ABC69862CEC0}" destId="{655D998E-4A98-4DFC-BEB8-39DE1D668C55}" srcOrd="1" destOrd="0" presId="urn:microsoft.com/office/officeart/2008/layout/VerticalCurvedList"/>
    <dgm:cxn modelId="{C4687A28-003E-4529-95D5-93F0C1D601CA}" type="presParOf" srcId="{E371D4FC-5CDE-4153-8B0B-ABC69862CEC0}" destId="{1BA231A2-6476-4B6E-BCE5-FD83B15727D0}" srcOrd="2" destOrd="0" presId="urn:microsoft.com/office/officeart/2008/layout/VerticalCurvedList"/>
    <dgm:cxn modelId="{5BAED5C6-FB4D-471B-856E-CE4F41653DB9}" type="presParOf" srcId="{E371D4FC-5CDE-4153-8B0B-ABC69862CEC0}" destId="{FA09A4A5-0266-4F19-98F9-178E11DFD9EA}" srcOrd="3" destOrd="0" presId="urn:microsoft.com/office/officeart/2008/layout/VerticalCurvedList"/>
    <dgm:cxn modelId="{5023B910-C46A-49CB-9931-31786FDA6971}" type="presParOf" srcId="{9C2FC2A9-FCAA-43B3-9069-BDA4EDF93598}" destId="{53274B59-64B1-4510-A897-A5F52F5EC695}" srcOrd="1" destOrd="0" presId="urn:microsoft.com/office/officeart/2008/layout/VerticalCurvedList"/>
    <dgm:cxn modelId="{F35AF996-7B9E-4909-9A5D-D6B38637CD4C}" type="presParOf" srcId="{9C2FC2A9-FCAA-43B3-9069-BDA4EDF93598}" destId="{B629270E-8479-4B10-B2BC-4973552AECBD}" srcOrd="2" destOrd="0" presId="urn:microsoft.com/office/officeart/2008/layout/VerticalCurvedList"/>
    <dgm:cxn modelId="{F41E4BE5-76BA-462C-B62C-1DF08C2D92F4}" type="presParOf" srcId="{B629270E-8479-4B10-B2BC-4973552AECBD}" destId="{0418DFE2-97D2-4583-BDCC-94A8C87F990A}" srcOrd="0" destOrd="0" presId="urn:microsoft.com/office/officeart/2008/layout/VerticalCurvedList"/>
    <dgm:cxn modelId="{30DB173B-C59E-4635-8B29-8ADFF05B624F}" type="presParOf" srcId="{9C2FC2A9-FCAA-43B3-9069-BDA4EDF93598}" destId="{8CC897A8-1B26-4298-92BE-28105FD16079}" srcOrd="3" destOrd="0" presId="urn:microsoft.com/office/officeart/2008/layout/VerticalCurvedList"/>
    <dgm:cxn modelId="{CA652A27-7975-4B2E-8347-01FB1B223141}" type="presParOf" srcId="{9C2FC2A9-FCAA-43B3-9069-BDA4EDF93598}" destId="{D02E527B-CA1B-452E-9EB0-6B3549A482CF}" srcOrd="4" destOrd="0" presId="urn:microsoft.com/office/officeart/2008/layout/VerticalCurvedList"/>
    <dgm:cxn modelId="{9254C358-FEF6-4101-9281-AA5346D15651}" type="presParOf" srcId="{D02E527B-CA1B-452E-9EB0-6B3549A482CF}" destId="{7C1C7742-726E-48C5-B641-FEECF99B5373}" srcOrd="0" destOrd="0" presId="urn:microsoft.com/office/officeart/2008/layout/VerticalCurvedList"/>
    <dgm:cxn modelId="{2CB4F69A-58C7-4BC6-83A8-E787EE536306}" type="presParOf" srcId="{9C2FC2A9-FCAA-43B3-9069-BDA4EDF93598}" destId="{0E5D5634-25A9-49D6-A8FA-033DD89C8BCA}" srcOrd="5" destOrd="0" presId="urn:microsoft.com/office/officeart/2008/layout/VerticalCurvedList"/>
    <dgm:cxn modelId="{13878FB4-6C9A-4350-BA77-B1D92492F662}" type="presParOf" srcId="{9C2FC2A9-FCAA-43B3-9069-BDA4EDF93598}" destId="{EE4E9DB3-09AC-4A74-A6F7-FC21B05E5290}" srcOrd="6" destOrd="0" presId="urn:microsoft.com/office/officeart/2008/layout/VerticalCurvedList"/>
    <dgm:cxn modelId="{90D60B56-9DD5-4819-89F4-8172005230A7}" type="presParOf" srcId="{EE4E9DB3-09AC-4A74-A6F7-FC21B05E5290}" destId="{F4217230-3626-414D-8C8B-3EC2DA399F4A}" srcOrd="0" destOrd="0" presId="urn:microsoft.com/office/officeart/2008/layout/VerticalCurvedList"/>
    <dgm:cxn modelId="{8D70935D-31A0-4F79-B9AC-3BA03DF6F373}" type="presParOf" srcId="{9C2FC2A9-FCAA-43B3-9069-BDA4EDF93598}" destId="{CF420C10-D2A5-4923-A602-F73661542CF7}" srcOrd="7" destOrd="0" presId="urn:microsoft.com/office/officeart/2008/layout/VerticalCurvedList"/>
    <dgm:cxn modelId="{712B14B1-A736-4568-9D57-27BBCC758FD2}" type="presParOf" srcId="{9C2FC2A9-FCAA-43B3-9069-BDA4EDF93598}" destId="{6DC1F164-702B-4C21-B77B-CDA8915C5D0D}" srcOrd="8" destOrd="0" presId="urn:microsoft.com/office/officeart/2008/layout/VerticalCurvedList"/>
    <dgm:cxn modelId="{C186FA20-30A1-4067-8E22-C88272A77DF3}" type="presParOf" srcId="{6DC1F164-702B-4C21-B77B-CDA8915C5D0D}" destId="{4DCC9EDB-CEA5-4C63-9061-79D115D54E15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1F362D7-5D44-4B00-BD52-C6D807A0BB5C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EBD2166D-F6D6-4A0E-A96A-CF4E270AEA66}">
      <dgm:prSet phldrT="[Texto]"/>
      <dgm:spPr>
        <a:solidFill>
          <a:srgbClr val="FC8637"/>
        </a:solidFill>
      </dgm:spPr>
      <dgm:t>
        <a:bodyPr/>
        <a:lstStyle/>
        <a:p>
          <a:r>
            <a:rPr lang="en-US" dirty="0" smtClean="0"/>
            <a:t>2 ) </a:t>
          </a:r>
          <a:r>
            <a:rPr lang="en-US" dirty="0" err="1" smtClean="0"/>
            <a:t>Compilación</a:t>
          </a:r>
          <a:endParaRPr lang="en-US" dirty="0"/>
        </a:p>
      </dgm:t>
    </dgm:pt>
    <dgm:pt modelId="{15AEBD27-68E6-4FD8-81E1-D96091BF7761}" type="parTrans" cxnId="{B6D30342-E9A5-47A5-899D-FB9724C410CF}">
      <dgm:prSet/>
      <dgm:spPr/>
      <dgm:t>
        <a:bodyPr/>
        <a:lstStyle/>
        <a:p>
          <a:endParaRPr lang="en-US"/>
        </a:p>
      </dgm:t>
    </dgm:pt>
    <dgm:pt modelId="{E2B67EA4-4A66-4939-B1A7-A0294FF31507}" type="sibTrans" cxnId="{B6D30342-E9A5-47A5-899D-FB9724C410CF}">
      <dgm:prSet/>
      <dgm:spPr/>
      <dgm:t>
        <a:bodyPr/>
        <a:lstStyle/>
        <a:p>
          <a:endParaRPr lang="en-US"/>
        </a:p>
      </dgm:t>
    </dgm:pt>
    <dgm:pt modelId="{205D6425-E88E-4696-803C-22C01DEF8902}">
      <dgm:prSet phldrT="[Texto]"/>
      <dgm:spPr>
        <a:solidFill>
          <a:srgbClr val="357FC2"/>
        </a:solidFill>
        <a:ln>
          <a:solidFill>
            <a:srgbClr val="357FC2"/>
          </a:solidFill>
        </a:ln>
      </dgm:spPr>
      <dgm:t>
        <a:bodyPr/>
        <a:lstStyle/>
        <a:p>
          <a:r>
            <a:rPr lang="en-US" dirty="0" smtClean="0"/>
            <a:t>3 ) </a:t>
          </a:r>
          <a:r>
            <a:rPr lang="en-US" dirty="0" err="1" smtClean="0"/>
            <a:t>Ejecución</a:t>
          </a:r>
          <a:r>
            <a:rPr lang="en-US" dirty="0" smtClean="0"/>
            <a:t> de </a:t>
          </a:r>
          <a:r>
            <a:rPr lang="en-US" dirty="0" err="1" smtClean="0"/>
            <a:t>pruebas</a:t>
          </a:r>
          <a:endParaRPr lang="en-US" dirty="0"/>
        </a:p>
      </dgm:t>
    </dgm:pt>
    <dgm:pt modelId="{E1449BCB-2791-43F5-8E9A-D930E1B45F01}" type="parTrans" cxnId="{0D2C18E1-D537-4637-97DE-C263245D730C}">
      <dgm:prSet/>
      <dgm:spPr/>
      <dgm:t>
        <a:bodyPr/>
        <a:lstStyle/>
        <a:p>
          <a:endParaRPr lang="en-US"/>
        </a:p>
      </dgm:t>
    </dgm:pt>
    <dgm:pt modelId="{8DAAD10B-6C9A-4788-8B7A-A3AC2C05DEF9}" type="sibTrans" cxnId="{0D2C18E1-D537-4637-97DE-C263245D730C}">
      <dgm:prSet/>
      <dgm:spPr/>
      <dgm:t>
        <a:bodyPr/>
        <a:lstStyle/>
        <a:p>
          <a:endParaRPr lang="en-US"/>
        </a:p>
      </dgm:t>
    </dgm:pt>
    <dgm:pt modelId="{3CF60453-62D2-4C17-920C-0A87682D2649}">
      <dgm:prSet phldrT="[Texto]"/>
      <dgm:spPr/>
      <dgm:t>
        <a:bodyPr/>
        <a:lstStyle/>
        <a:p>
          <a:r>
            <a:rPr lang="en-US" dirty="0" smtClean="0"/>
            <a:t>4 ) </a:t>
          </a:r>
          <a:r>
            <a:rPr lang="en-US" dirty="0" err="1" smtClean="0"/>
            <a:t>Análisis</a:t>
          </a:r>
          <a:r>
            <a:rPr lang="en-US" dirty="0" smtClean="0"/>
            <a:t> </a:t>
          </a:r>
          <a:r>
            <a:rPr lang="en-US" dirty="0" err="1" smtClean="0"/>
            <a:t>estático</a:t>
          </a:r>
          <a:endParaRPr lang="en-US" dirty="0"/>
        </a:p>
      </dgm:t>
    </dgm:pt>
    <dgm:pt modelId="{77F4A4C4-3C05-433D-B5EF-7FDC60869810}" type="parTrans" cxnId="{892C84DC-E7C6-4D07-BD4F-E571552FFA61}">
      <dgm:prSet/>
      <dgm:spPr/>
      <dgm:t>
        <a:bodyPr/>
        <a:lstStyle/>
        <a:p>
          <a:endParaRPr lang="en-US"/>
        </a:p>
      </dgm:t>
    </dgm:pt>
    <dgm:pt modelId="{7919EF2F-EF6B-4B6B-89E9-B7B44BF0DF66}" type="sibTrans" cxnId="{892C84DC-E7C6-4D07-BD4F-E571552FFA61}">
      <dgm:prSet/>
      <dgm:spPr/>
      <dgm:t>
        <a:bodyPr/>
        <a:lstStyle/>
        <a:p>
          <a:endParaRPr lang="en-US"/>
        </a:p>
      </dgm:t>
    </dgm:pt>
    <dgm:pt modelId="{DFF2491D-3916-4361-9D21-A2326781DAF0}">
      <dgm:prSet phldrT="[Texto]"/>
      <dgm:spPr/>
      <dgm:t>
        <a:bodyPr/>
        <a:lstStyle/>
        <a:p>
          <a:r>
            <a:rPr lang="en-US" dirty="0" smtClean="0"/>
            <a:t>5 ) </a:t>
          </a:r>
          <a:r>
            <a:rPr lang="en-US" dirty="0" err="1" smtClean="0"/>
            <a:t>Generación</a:t>
          </a:r>
          <a:r>
            <a:rPr lang="en-US" dirty="0" smtClean="0"/>
            <a:t> </a:t>
          </a:r>
          <a:r>
            <a:rPr lang="en-US" smtClean="0"/>
            <a:t>de artefactos</a:t>
          </a:r>
          <a:endParaRPr lang="en-US" dirty="0"/>
        </a:p>
      </dgm:t>
    </dgm:pt>
    <dgm:pt modelId="{936164D2-BAC5-4B11-9651-FF2C527A026E}" type="parTrans" cxnId="{ABE01D73-A435-4D82-91AD-5DBB6E7BE206}">
      <dgm:prSet/>
      <dgm:spPr/>
      <dgm:t>
        <a:bodyPr/>
        <a:lstStyle/>
        <a:p>
          <a:endParaRPr lang="en-US"/>
        </a:p>
      </dgm:t>
    </dgm:pt>
    <dgm:pt modelId="{471A5121-0B7E-421D-8D4A-738B17041DEC}" type="sibTrans" cxnId="{ABE01D73-A435-4D82-91AD-5DBB6E7BE206}">
      <dgm:prSet/>
      <dgm:spPr/>
      <dgm:t>
        <a:bodyPr/>
        <a:lstStyle/>
        <a:p>
          <a:endParaRPr lang="en-US"/>
        </a:p>
      </dgm:t>
    </dgm:pt>
    <dgm:pt modelId="{35E6BAE5-FD53-584F-AD54-804E12B7241E}">
      <dgm:prSet phldrT="[Texto]"/>
      <dgm:spPr/>
      <dgm:t>
        <a:bodyPr/>
        <a:lstStyle/>
        <a:p>
          <a:r>
            <a:rPr lang="en-US" dirty="0" smtClean="0"/>
            <a:t>6 ) </a:t>
          </a:r>
          <a:r>
            <a:rPr lang="en-US" dirty="0" err="1" smtClean="0"/>
            <a:t>Entrega</a:t>
          </a:r>
          <a:r>
            <a:rPr lang="en-US" dirty="0" smtClean="0"/>
            <a:t> de </a:t>
          </a:r>
          <a:r>
            <a:rPr lang="en-US" smtClean="0"/>
            <a:t>artefactos</a:t>
          </a:r>
          <a:endParaRPr lang="en-US" dirty="0"/>
        </a:p>
      </dgm:t>
    </dgm:pt>
    <dgm:pt modelId="{D77278DE-F49D-934E-8BC6-843EE0753561}" type="parTrans" cxnId="{3D849FD4-DC65-5248-9301-A0D4CADFE545}">
      <dgm:prSet/>
      <dgm:spPr/>
      <dgm:t>
        <a:bodyPr/>
        <a:lstStyle/>
        <a:p>
          <a:endParaRPr lang="es-ES_tradnl"/>
        </a:p>
      </dgm:t>
    </dgm:pt>
    <dgm:pt modelId="{826A8C8E-21CC-354D-A2C6-28FF6BB00222}" type="sibTrans" cxnId="{3D849FD4-DC65-5248-9301-A0D4CADFE545}">
      <dgm:prSet/>
      <dgm:spPr/>
      <dgm:t>
        <a:bodyPr/>
        <a:lstStyle/>
        <a:p>
          <a:endParaRPr lang="es-ES_tradnl"/>
        </a:p>
      </dgm:t>
    </dgm:pt>
    <dgm:pt modelId="{23715CD9-387E-45CF-8AA5-2B2B0232C71C}" type="pres">
      <dgm:prSet presAssocID="{71F362D7-5D44-4B00-BD52-C6D807A0BB5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9C2FC2A9-FCAA-43B3-9069-BDA4EDF93598}" type="pres">
      <dgm:prSet presAssocID="{71F362D7-5D44-4B00-BD52-C6D807A0BB5C}" presName="Name1" presStyleCnt="0"/>
      <dgm:spPr/>
      <dgm:t>
        <a:bodyPr/>
        <a:lstStyle/>
        <a:p>
          <a:endParaRPr lang="es-ES"/>
        </a:p>
      </dgm:t>
    </dgm:pt>
    <dgm:pt modelId="{E371D4FC-5CDE-4153-8B0B-ABC69862CEC0}" type="pres">
      <dgm:prSet presAssocID="{71F362D7-5D44-4B00-BD52-C6D807A0BB5C}" presName="cycle" presStyleCnt="0"/>
      <dgm:spPr/>
      <dgm:t>
        <a:bodyPr/>
        <a:lstStyle/>
        <a:p>
          <a:endParaRPr lang="es-ES"/>
        </a:p>
      </dgm:t>
    </dgm:pt>
    <dgm:pt modelId="{16379CEC-C2B4-4735-84CB-ECC9748BE185}" type="pres">
      <dgm:prSet presAssocID="{71F362D7-5D44-4B00-BD52-C6D807A0BB5C}" presName="srcNode" presStyleLbl="node1" presStyleIdx="0" presStyleCnt="5"/>
      <dgm:spPr/>
      <dgm:t>
        <a:bodyPr/>
        <a:lstStyle/>
        <a:p>
          <a:endParaRPr lang="es-ES"/>
        </a:p>
      </dgm:t>
    </dgm:pt>
    <dgm:pt modelId="{655D998E-4A98-4DFC-BEB8-39DE1D668C55}" type="pres">
      <dgm:prSet presAssocID="{71F362D7-5D44-4B00-BD52-C6D807A0BB5C}" presName="conn" presStyleLbl="parChTrans1D2" presStyleIdx="0" presStyleCnt="1"/>
      <dgm:spPr/>
      <dgm:t>
        <a:bodyPr/>
        <a:lstStyle/>
        <a:p>
          <a:endParaRPr lang="en-US"/>
        </a:p>
      </dgm:t>
    </dgm:pt>
    <dgm:pt modelId="{1BA231A2-6476-4B6E-BCE5-FD83B15727D0}" type="pres">
      <dgm:prSet presAssocID="{71F362D7-5D44-4B00-BD52-C6D807A0BB5C}" presName="extraNode" presStyleLbl="node1" presStyleIdx="0" presStyleCnt="5"/>
      <dgm:spPr/>
      <dgm:t>
        <a:bodyPr/>
        <a:lstStyle/>
        <a:p>
          <a:endParaRPr lang="es-ES"/>
        </a:p>
      </dgm:t>
    </dgm:pt>
    <dgm:pt modelId="{FA09A4A5-0266-4F19-98F9-178E11DFD9EA}" type="pres">
      <dgm:prSet presAssocID="{71F362D7-5D44-4B00-BD52-C6D807A0BB5C}" presName="dstNode" presStyleLbl="node1" presStyleIdx="0" presStyleCnt="5"/>
      <dgm:spPr/>
      <dgm:t>
        <a:bodyPr/>
        <a:lstStyle/>
        <a:p>
          <a:endParaRPr lang="es-ES"/>
        </a:p>
      </dgm:t>
    </dgm:pt>
    <dgm:pt modelId="{A3E659EC-0C81-45D6-B6EC-4FFB84539B40}" type="pres">
      <dgm:prSet presAssocID="{EBD2166D-F6D6-4A0E-A96A-CF4E270AEA66}" presName="text_1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4C77B5D-8703-481B-98EC-E5AA1553F0A4}" type="pres">
      <dgm:prSet presAssocID="{EBD2166D-F6D6-4A0E-A96A-CF4E270AEA66}" presName="accent_1" presStyleCnt="0"/>
      <dgm:spPr/>
      <dgm:t>
        <a:bodyPr/>
        <a:lstStyle/>
        <a:p>
          <a:endParaRPr lang="es-ES"/>
        </a:p>
      </dgm:t>
    </dgm:pt>
    <dgm:pt modelId="{7C1C7742-726E-48C5-B641-FEECF99B5373}" type="pres">
      <dgm:prSet presAssocID="{EBD2166D-F6D6-4A0E-A96A-CF4E270AEA66}" presName="accentRepeatNode" presStyleLbl="solidFgAcc1" presStyleIdx="0" presStyleCnt="5"/>
      <dgm:spPr/>
      <dgm:t>
        <a:bodyPr/>
        <a:lstStyle/>
        <a:p>
          <a:endParaRPr lang="en-US"/>
        </a:p>
      </dgm:t>
    </dgm:pt>
    <dgm:pt modelId="{1B6A86BD-7ED7-488B-940C-8E461AEA7056}" type="pres">
      <dgm:prSet presAssocID="{205D6425-E88E-4696-803C-22C01DEF8902}" presName="text_2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DEC7B4F-F7CA-499B-BDE6-FB6F5A9F38D4}" type="pres">
      <dgm:prSet presAssocID="{205D6425-E88E-4696-803C-22C01DEF8902}" presName="accent_2" presStyleCnt="0"/>
      <dgm:spPr/>
      <dgm:t>
        <a:bodyPr/>
        <a:lstStyle/>
        <a:p>
          <a:endParaRPr lang="es-ES"/>
        </a:p>
      </dgm:t>
    </dgm:pt>
    <dgm:pt modelId="{F4217230-3626-414D-8C8B-3EC2DA399F4A}" type="pres">
      <dgm:prSet presAssocID="{205D6425-E88E-4696-803C-22C01DEF8902}" presName="accentRepeatNode" presStyleLbl="solidFgAcc1" presStyleIdx="1" presStyleCnt="5"/>
      <dgm:spPr/>
      <dgm:t>
        <a:bodyPr/>
        <a:lstStyle/>
        <a:p>
          <a:endParaRPr lang="es-ES"/>
        </a:p>
      </dgm:t>
    </dgm:pt>
    <dgm:pt modelId="{156B310F-1BF6-4FE4-B5F7-7634DCBF49C7}" type="pres">
      <dgm:prSet presAssocID="{3CF60453-62D2-4C17-920C-0A87682D2649}" presName="text_3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99CF8D7-6B4D-44C5-880A-ECCCB2051941}" type="pres">
      <dgm:prSet presAssocID="{3CF60453-62D2-4C17-920C-0A87682D2649}" presName="accent_3" presStyleCnt="0"/>
      <dgm:spPr/>
      <dgm:t>
        <a:bodyPr/>
        <a:lstStyle/>
        <a:p>
          <a:endParaRPr lang="es-ES"/>
        </a:p>
      </dgm:t>
    </dgm:pt>
    <dgm:pt modelId="{4DCC9EDB-CEA5-4C63-9061-79D115D54E15}" type="pres">
      <dgm:prSet presAssocID="{3CF60453-62D2-4C17-920C-0A87682D2649}" presName="accentRepeatNode" presStyleLbl="solidFgAcc1" presStyleIdx="2" presStyleCnt="5"/>
      <dgm:spPr/>
      <dgm:t>
        <a:bodyPr/>
        <a:lstStyle/>
        <a:p>
          <a:endParaRPr lang="es-ES"/>
        </a:p>
      </dgm:t>
    </dgm:pt>
    <dgm:pt modelId="{5D6FFA0D-1717-41E7-8BCB-DC6ACE21570D}" type="pres">
      <dgm:prSet presAssocID="{DFF2491D-3916-4361-9D21-A2326781DAF0}" presName="text_4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F73D9D8-85A8-4EB7-9170-2E8A5AF98268}" type="pres">
      <dgm:prSet presAssocID="{DFF2491D-3916-4361-9D21-A2326781DAF0}" presName="accent_4" presStyleCnt="0"/>
      <dgm:spPr/>
      <dgm:t>
        <a:bodyPr/>
        <a:lstStyle/>
        <a:p>
          <a:endParaRPr lang="es-ES"/>
        </a:p>
      </dgm:t>
    </dgm:pt>
    <dgm:pt modelId="{A24D0F93-EBEA-4F09-AE6E-F095F72DD74B}" type="pres">
      <dgm:prSet presAssocID="{DFF2491D-3916-4361-9D21-A2326781DAF0}" presName="accentRepeatNode" presStyleLbl="solidFgAcc1" presStyleIdx="3" presStyleCnt="5"/>
      <dgm:spPr/>
      <dgm:t>
        <a:bodyPr/>
        <a:lstStyle/>
        <a:p>
          <a:endParaRPr lang="es-ES"/>
        </a:p>
      </dgm:t>
    </dgm:pt>
    <dgm:pt modelId="{EA45652B-64F5-F341-AF37-09953EAAE514}" type="pres">
      <dgm:prSet presAssocID="{35E6BAE5-FD53-584F-AD54-804E12B7241E}" presName="text_5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s-ES_tradnl"/>
        </a:p>
      </dgm:t>
    </dgm:pt>
    <dgm:pt modelId="{0E884DCE-2BFC-6B44-88FC-BD98EF99D074}" type="pres">
      <dgm:prSet presAssocID="{35E6BAE5-FD53-584F-AD54-804E12B7241E}" presName="accent_5" presStyleCnt="0"/>
      <dgm:spPr/>
      <dgm:t>
        <a:bodyPr/>
        <a:lstStyle/>
        <a:p>
          <a:endParaRPr lang="es-ES"/>
        </a:p>
      </dgm:t>
    </dgm:pt>
    <dgm:pt modelId="{63DCB61B-6A64-D848-B7B2-3C6E7DB8105D}" type="pres">
      <dgm:prSet presAssocID="{35E6BAE5-FD53-584F-AD54-804E12B7241E}" presName="accentRepeatNode" presStyleLbl="solidFgAcc1" presStyleIdx="4" presStyleCnt="5"/>
      <dgm:spPr/>
      <dgm:t>
        <a:bodyPr/>
        <a:lstStyle/>
        <a:p>
          <a:endParaRPr lang="es-ES"/>
        </a:p>
      </dgm:t>
    </dgm:pt>
  </dgm:ptLst>
  <dgm:cxnLst>
    <dgm:cxn modelId="{9D90669D-A303-4004-BC2F-D256C40732CC}" type="presOf" srcId="{205D6425-E88E-4696-803C-22C01DEF8902}" destId="{1B6A86BD-7ED7-488B-940C-8E461AEA7056}" srcOrd="0" destOrd="0" presId="urn:microsoft.com/office/officeart/2008/layout/VerticalCurvedList"/>
    <dgm:cxn modelId="{B6D30342-E9A5-47A5-899D-FB9724C410CF}" srcId="{71F362D7-5D44-4B00-BD52-C6D807A0BB5C}" destId="{EBD2166D-F6D6-4A0E-A96A-CF4E270AEA66}" srcOrd="0" destOrd="0" parTransId="{15AEBD27-68E6-4FD8-81E1-D96091BF7761}" sibTransId="{E2B67EA4-4A66-4939-B1A7-A0294FF31507}"/>
    <dgm:cxn modelId="{D1F55F77-8BAF-47B9-9D7A-F6D801BE1405}" type="presOf" srcId="{3CF60453-62D2-4C17-920C-0A87682D2649}" destId="{156B310F-1BF6-4FE4-B5F7-7634DCBF49C7}" srcOrd="0" destOrd="0" presId="urn:microsoft.com/office/officeart/2008/layout/VerticalCurvedList"/>
    <dgm:cxn modelId="{ABE01D73-A435-4D82-91AD-5DBB6E7BE206}" srcId="{71F362D7-5D44-4B00-BD52-C6D807A0BB5C}" destId="{DFF2491D-3916-4361-9D21-A2326781DAF0}" srcOrd="3" destOrd="0" parTransId="{936164D2-BAC5-4B11-9651-FF2C527A026E}" sibTransId="{471A5121-0B7E-421D-8D4A-738B17041DEC}"/>
    <dgm:cxn modelId="{3A951188-E66C-489F-B416-E3D94C684AC9}" type="presOf" srcId="{71F362D7-5D44-4B00-BD52-C6D807A0BB5C}" destId="{23715CD9-387E-45CF-8AA5-2B2B0232C71C}" srcOrd="0" destOrd="0" presId="urn:microsoft.com/office/officeart/2008/layout/VerticalCurvedList"/>
    <dgm:cxn modelId="{3D849FD4-DC65-5248-9301-A0D4CADFE545}" srcId="{71F362D7-5D44-4B00-BD52-C6D807A0BB5C}" destId="{35E6BAE5-FD53-584F-AD54-804E12B7241E}" srcOrd="4" destOrd="0" parTransId="{D77278DE-F49D-934E-8BC6-843EE0753561}" sibTransId="{826A8C8E-21CC-354D-A2C6-28FF6BB00222}"/>
    <dgm:cxn modelId="{3C5492F4-C426-4D06-B6B7-84375B29A6EF}" type="presOf" srcId="{EBD2166D-F6D6-4A0E-A96A-CF4E270AEA66}" destId="{A3E659EC-0C81-45D6-B6EC-4FFB84539B40}" srcOrd="0" destOrd="0" presId="urn:microsoft.com/office/officeart/2008/layout/VerticalCurvedList"/>
    <dgm:cxn modelId="{892C84DC-E7C6-4D07-BD4F-E571552FFA61}" srcId="{71F362D7-5D44-4B00-BD52-C6D807A0BB5C}" destId="{3CF60453-62D2-4C17-920C-0A87682D2649}" srcOrd="2" destOrd="0" parTransId="{77F4A4C4-3C05-433D-B5EF-7FDC60869810}" sibTransId="{7919EF2F-EF6B-4B6B-89E9-B7B44BF0DF66}"/>
    <dgm:cxn modelId="{FCAB8044-E96E-485C-A249-E99356FA6FFC}" type="presOf" srcId="{DFF2491D-3916-4361-9D21-A2326781DAF0}" destId="{5D6FFA0D-1717-41E7-8BCB-DC6ACE21570D}" srcOrd="0" destOrd="0" presId="urn:microsoft.com/office/officeart/2008/layout/VerticalCurvedList"/>
    <dgm:cxn modelId="{9DA3941E-EFF9-493D-BC47-0CCC6BAA07F0}" type="presOf" srcId="{E2B67EA4-4A66-4939-B1A7-A0294FF31507}" destId="{655D998E-4A98-4DFC-BEB8-39DE1D668C55}" srcOrd="0" destOrd="0" presId="urn:microsoft.com/office/officeart/2008/layout/VerticalCurvedList"/>
    <dgm:cxn modelId="{0D2C18E1-D537-4637-97DE-C263245D730C}" srcId="{71F362D7-5D44-4B00-BD52-C6D807A0BB5C}" destId="{205D6425-E88E-4696-803C-22C01DEF8902}" srcOrd="1" destOrd="0" parTransId="{E1449BCB-2791-43F5-8E9A-D930E1B45F01}" sibTransId="{8DAAD10B-6C9A-4788-8B7A-A3AC2C05DEF9}"/>
    <dgm:cxn modelId="{29D14D9A-DDA2-5E48-A83C-3A1CE08D3354}" type="presOf" srcId="{35E6BAE5-FD53-584F-AD54-804E12B7241E}" destId="{EA45652B-64F5-F341-AF37-09953EAAE514}" srcOrd="0" destOrd="0" presId="urn:microsoft.com/office/officeart/2008/layout/VerticalCurvedList"/>
    <dgm:cxn modelId="{EA960A79-86C7-448D-9C07-BC3E45E1A989}" type="presParOf" srcId="{23715CD9-387E-45CF-8AA5-2B2B0232C71C}" destId="{9C2FC2A9-FCAA-43B3-9069-BDA4EDF93598}" srcOrd="0" destOrd="0" presId="urn:microsoft.com/office/officeart/2008/layout/VerticalCurvedList"/>
    <dgm:cxn modelId="{15F2ED81-B549-4D22-94A6-A3E2F66DDB42}" type="presParOf" srcId="{9C2FC2A9-FCAA-43B3-9069-BDA4EDF93598}" destId="{E371D4FC-5CDE-4153-8B0B-ABC69862CEC0}" srcOrd="0" destOrd="0" presId="urn:microsoft.com/office/officeart/2008/layout/VerticalCurvedList"/>
    <dgm:cxn modelId="{EA2B175B-ACA7-4821-A35D-72F9B5FB1B32}" type="presParOf" srcId="{E371D4FC-5CDE-4153-8B0B-ABC69862CEC0}" destId="{16379CEC-C2B4-4735-84CB-ECC9748BE185}" srcOrd="0" destOrd="0" presId="urn:microsoft.com/office/officeart/2008/layout/VerticalCurvedList"/>
    <dgm:cxn modelId="{FAE44C6E-17DC-4EEB-A035-32ACEE756FEE}" type="presParOf" srcId="{E371D4FC-5CDE-4153-8B0B-ABC69862CEC0}" destId="{655D998E-4A98-4DFC-BEB8-39DE1D668C55}" srcOrd="1" destOrd="0" presId="urn:microsoft.com/office/officeart/2008/layout/VerticalCurvedList"/>
    <dgm:cxn modelId="{917080E8-EFD7-49C1-B9A5-F899F2A60DE1}" type="presParOf" srcId="{E371D4FC-5CDE-4153-8B0B-ABC69862CEC0}" destId="{1BA231A2-6476-4B6E-BCE5-FD83B15727D0}" srcOrd="2" destOrd="0" presId="urn:microsoft.com/office/officeart/2008/layout/VerticalCurvedList"/>
    <dgm:cxn modelId="{2D35157F-3A31-4C78-8609-F39C20C26F6D}" type="presParOf" srcId="{E371D4FC-5CDE-4153-8B0B-ABC69862CEC0}" destId="{FA09A4A5-0266-4F19-98F9-178E11DFD9EA}" srcOrd="3" destOrd="0" presId="urn:microsoft.com/office/officeart/2008/layout/VerticalCurvedList"/>
    <dgm:cxn modelId="{148D1D57-C5B8-422F-A6B4-6DAFE2C71DC7}" type="presParOf" srcId="{9C2FC2A9-FCAA-43B3-9069-BDA4EDF93598}" destId="{A3E659EC-0C81-45D6-B6EC-4FFB84539B40}" srcOrd="1" destOrd="0" presId="urn:microsoft.com/office/officeart/2008/layout/VerticalCurvedList"/>
    <dgm:cxn modelId="{68BA3796-CC3C-46E1-A95C-AE0C220A061A}" type="presParOf" srcId="{9C2FC2A9-FCAA-43B3-9069-BDA4EDF93598}" destId="{F4C77B5D-8703-481B-98EC-E5AA1553F0A4}" srcOrd="2" destOrd="0" presId="urn:microsoft.com/office/officeart/2008/layout/VerticalCurvedList"/>
    <dgm:cxn modelId="{21B536FA-CA28-4B85-BF71-AB65BA8C5176}" type="presParOf" srcId="{F4C77B5D-8703-481B-98EC-E5AA1553F0A4}" destId="{7C1C7742-726E-48C5-B641-FEECF99B5373}" srcOrd="0" destOrd="0" presId="urn:microsoft.com/office/officeart/2008/layout/VerticalCurvedList"/>
    <dgm:cxn modelId="{6F709C40-EEE8-406B-9272-3B454FA4EBC1}" type="presParOf" srcId="{9C2FC2A9-FCAA-43B3-9069-BDA4EDF93598}" destId="{1B6A86BD-7ED7-488B-940C-8E461AEA7056}" srcOrd="3" destOrd="0" presId="urn:microsoft.com/office/officeart/2008/layout/VerticalCurvedList"/>
    <dgm:cxn modelId="{746A3712-EC9F-465E-8F60-E09BF6C75CF8}" type="presParOf" srcId="{9C2FC2A9-FCAA-43B3-9069-BDA4EDF93598}" destId="{EDEC7B4F-F7CA-499B-BDE6-FB6F5A9F38D4}" srcOrd="4" destOrd="0" presId="urn:microsoft.com/office/officeart/2008/layout/VerticalCurvedList"/>
    <dgm:cxn modelId="{A8F5D0C0-052C-41F6-9B81-8B799B64059A}" type="presParOf" srcId="{EDEC7B4F-F7CA-499B-BDE6-FB6F5A9F38D4}" destId="{F4217230-3626-414D-8C8B-3EC2DA399F4A}" srcOrd="0" destOrd="0" presId="urn:microsoft.com/office/officeart/2008/layout/VerticalCurvedList"/>
    <dgm:cxn modelId="{9D28A2D1-43B7-4522-939E-C639D5163A2C}" type="presParOf" srcId="{9C2FC2A9-FCAA-43B3-9069-BDA4EDF93598}" destId="{156B310F-1BF6-4FE4-B5F7-7634DCBF49C7}" srcOrd="5" destOrd="0" presId="urn:microsoft.com/office/officeart/2008/layout/VerticalCurvedList"/>
    <dgm:cxn modelId="{F2067495-443B-4C61-80F4-DC4B587C5B8E}" type="presParOf" srcId="{9C2FC2A9-FCAA-43B3-9069-BDA4EDF93598}" destId="{899CF8D7-6B4D-44C5-880A-ECCCB2051941}" srcOrd="6" destOrd="0" presId="urn:microsoft.com/office/officeart/2008/layout/VerticalCurvedList"/>
    <dgm:cxn modelId="{C7B882D2-E371-42AD-8ADC-854DDDC1B081}" type="presParOf" srcId="{899CF8D7-6B4D-44C5-880A-ECCCB2051941}" destId="{4DCC9EDB-CEA5-4C63-9061-79D115D54E15}" srcOrd="0" destOrd="0" presId="urn:microsoft.com/office/officeart/2008/layout/VerticalCurvedList"/>
    <dgm:cxn modelId="{32C3919F-B220-4DE1-B69F-B32E41E9BE5F}" type="presParOf" srcId="{9C2FC2A9-FCAA-43B3-9069-BDA4EDF93598}" destId="{5D6FFA0D-1717-41E7-8BCB-DC6ACE21570D}" srcOrd="7" destOrd="0" presId="urn:microsoft.com/office/officeart/2008/layout/VerticalCurvedList"/>
    <dgm:cxn modelId="{C643F816-D54F-4145-964A-82289F32B16D}" type="presParOf" srcId="{9C2FC2A9-FCAA-43B3-9069-BDA4EDF93598}" destId="{5F73D9D8-85A8-4EB7-9170-2E8A5AF98268}" srcOrd="8" destOrd="0" presId="urn:microsoft.com/office/officeart/2008/layout/VerticalCurvedList"/>
    <dgm:cxn modelId="{C98D5289-225A-4BCB-AD45-90BA867E0FC7}" type="presParOf" srcId="{5F73D9D8-85A8-4EB7-9170-2E8A5AF98268}" destId="{A24D0F93-EBEA-4F09-AE6E-F095F72DD74B}" srcOrd="0" destOrd="0" presId="urn:microsoft.com/office/officeart/2008/layout/VerticalCurvedList"/>
    <dgm:cxn modelId="{1447B5DA-5D31-1D46-BBB7-A82CCFBB9779}" type="presParOf" srcId="{9C2FC2A9-FCAA-43B3-9069-BDA4EDF93598}" destId="{EA45652B-64F5-F341-AF37-09953EAAE514}" srcOrd="9" destOrd="0" presId="urn:microsoft.com/office/officeart/2008/layout/VerticalCurvedList"/>
    <dgm:cxn modelId="{01D3FA00-A0E7-1C48-90CF-223582C63B6E}" type="presParOf" srcId="{9C2FC2A9-FCAA-43B3-9069-BDA4EDF93598}" destId="{0E884DCE-2BFC-6B44-88FC-BD98EF99D074}" srcOrd="10" destOrd="0" presId="urn:microsoft.com/office/officeart/2008/layout/VerticalCurvedList"/>
    <dgm:cxn modelId="{9C1C03A3-629A-1A40-B8D8-073637610A2F}" type="presParOf" srcId="{0E884DCE-2BFC-6B44-88FC-BD98EF99D074}" destId="{63DCB61B-6A64-D848-B7B2-3C6E7DB8105D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294AC2C-B552-2843-ADD2-16313FA7B401}" type="doc">
      <dgm:prSet loTypeId="urn:microsoft.com/office/officeart/2005/8/layout/process2" loCatId="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s-ES_tradnl"/>
        </a:p>
      </dgm:t>
    </dgm:pt>
    <dgm:pt modelId="{4A1E73D2-7D9C-3B4B-A0EF-CDE5272C3132}">
      <dgm:prSet phldrT="[Texto]" custT="1"/>
      <dgm:spPr>
        <a:solidFill>
          <a:srgbClr val="FC8637"/>
        </a:solidFill>
      </dgm:spPr>
      <dgm:t>
        <a:bodyPr/>
        <a:lstStyle/>
        <a:p>
          <a:r>
            <a:rPr lang="es-ES_tradnl" sz="1600" dirty="0" smtClean="0"/>
            <a:t>6 ) Desarrollo</a:t>
          </a:r>
          <a:endParaRPr lang="es-ES_tradnl" sz="1600" dirty="0"/>
        </a:p>
      </dgm:t>
    </dgm:pt>
    <dgm:pt modelId="{9650F941-E8C9-C243-B525-D768C038D910}" type="parTrans" cxnId="{CEC238BE-397E-FE4F-94BA-027CE70A6E6E}">
      <dgm:prSet/>
      <dgm:spPr/>
      <dgm:t>
        <a:bodyPr/>
        <a:lstStyle/>
        <a:p>
          <a:endParaRPr lang="es-ES_tradnl"/>
        </a:p>
      </dgm:t>
    </dgm:pt>
    <dgm:pt modelId="{635E6A3D-8B92-8241-98CD-CF8D54779950}" type="sibTrans" cxnId="{CEC238BE-397E-FE4F-94BA-027CE70A6E6E}">
      <dgm:prSet/>
      <dgm:spPr/>
      <dgm:t>
        <a:bodyPr/>
        <a:lstStyle/>
        <a:p>
          <a:endParaRPr lang="es-ES_tradnl"/>
        </a:p>
      </dgm:t>
    </dgm:pt>
    <dgm:pt modelId="{35EF3295-D8C4-764C-B071-2B32067DD164}">
      <dgm:prSet phldrT="[Texto]" custT="1"/>
      <dgm:spPr>
        <a:solidFill>
          <a:srgbClr val="357FC2"/>
        </a:solidFill>
        <a:ln>
          <a:solidFill>
            <a:srgbClr val="357FC2"/>
          </a:solidFill>
        </a:ln>
      </dgm:spPr>
      <dgm:t>
        <a:bodyPr/>
        <a:lstStyle/>
        <a:p>
          <a:r>
            <a:rPr lang="es-ES_tradnl" sz="1600" dirty="0" smtClean="0"/>
            <a:t>7 ) UAT</a:t>
          </a:r>
          <a:endParaRPr lang="es-ES_tradnl" sz="1600" dirty="0"/>
        </a:p>
      </dgm:t>
    </dgm:pt>
    <dgm:pt modelId="{83FEC610-E1E7-E14F-85AE-D6B2046932C3}" type="parTrans" cxnId="{59F5CF80-702D-9045-9D25-AB63A383200B}">
      <dgm:prSet/>
      <dgm:spPr/>
      <dgm:t>
        <a:bodyPr/>
        <a:lstStyle/>
        <a:p>
          <a:endParaRPr lang="es-ES_tradnl"/>
        </a:p>
      </dgm:t>
    </dgm:pt>
    <dgm:pt modelId="{1A32C699-229E-1C42-97F6-DE47B92AC02D}" type="sibTrans" cxnId="{59F5CF80-702D-9045-9D25-AB63A383200B}">
      <dgm:prSet/>
      <dgm:spPr/>
      <dgm:t>
        <a:bodyPr/>
        <a:lstStyle/>
        <a:p>
          <a:endParaRPr lang="es-ES_tradnl"/>
        </a:p>
      </dgm:t>
    </dgm:pt>
    <dgm:pt modelId="{B05BF3AF-CC24-FB47-BC19-60DE7A383615}">
      <dgm:prSet phldrT="[Texto]" custT="1"/>
      <dgm:spPr>
        <a:solidFill>
          <a:srgbClr val="79B84F"/>
        </a:solidFill>
      </dgm:spPr>
      <dgm:t>
        <a:bodyPr/>
        <a:lstStyle/>
        <a:p>
          <a:r>
            <a:rPr lang="es-ES_tradnl" sz="1600" dirty="0" smtClean="0"/>
            <a:t>8 ) </a:t>
          </a:r>
          <a:r>
            <a:rPr lang="es-ES_tradnl" sz="1600" dirty="0" err="1" smtClean="0"/>
            <a:t>Producci</a:t>
          </a:r>
          <a:r>
            <a:rPr lang="en-US" sz="1600" dirty="0" err="1" smtClean="0"/>
            <a:t>ón</a:t>
          </a:r>
          <a:endParaRPr lang="es-ES_tradnl" sz="1600" dirty="0"/>
        </a:p>
      </dgm:t>
    </dgm:pt>
    <dgm:pt modelId="{CC2DDCF6-D83C-A047-84A8-03586E093A8F}" type="parTrans" cxnId="{BE236E6A-089D-0341-BC33-F03BA379876C}">
      <dgm:prSet/>
      <dgm:spPr/>
      <dgm:t>
        <a:bodyPr/>
        <a:lstStyle/>
        <a:p>
          <a:endParaRPr lang="es-ES_tradnl"/>
        </a:p>
      </dgm:t>
    </dgm:pt>
    <dgm:pt modelId="{2A9DD0A6-CD54-2948-8CE5-A0398636BB82}" type="sibTrans" cxnId="{BE236E6A-089D-0341-BC33-F03BA379876C}">
      <dgm:prSet/>
      <dgm:spPr/>
      <dgm:t>
        <a:bodyPr/>
        <a:lstStyle/>
        <a:p>
          <a:endParaRPr lang="es-ES_tradnl"/>
        </a:p>
      </dgm:t>
    </dgm:pt>
    <dgm:pt modelId="{3AA605BB-AE8B-D24A-AA74-0ED3C2A38E36}" type="pres">
      <dgm:prSet presAssocID="{F294AC2C-B552-2843-ADD2-16313FA7B401}" presName="linearFlow" presStyleCnt="0">
        <dgm:presLayoutVars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86F0C516-3F43-AA44-9932-BB94119386F9}" type="pres">
      <dgm:prSet presAssocID="{4A1E73D2-7D9C-3B4B-A0EF-CDE5272C3132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s-ES_tradnl"/>
        </a:p>
      </dgm:t>
    </dgm:pt>
    <dgm:pt modelId="{683800E1-B6DD-A144-A38D-CFACB335BB77}" type="pres">
      <dgm:prSet presAssocID="{635E6A3D-8B92-8241-98CD-CF8D54779950}" presName="sibTrans" presStyleLbl="sibTrans2D1" presStyleIdx="0" presStyleCnt="2"/>
      <dgm:spPr/>
      <dgm:t>
        <a:bodyPr/>
        <a:lstStyle/>
        <a:p>
          <a:endParaRPr lang="es-ES_tradnl"/>
        </a:p>
      </dgm:t>
    </dgm:pt>
    <dgm:pt modelId="{C6B34596-1905-C441-ABC2-4CBBFEE5DF1E}" type="pres">
      <dgm:prSet presAssocID="{635E6A3D-8B92-8241-98CD-CF8D54779950}" presName="connectorText" presStyleLbl="sibTrans2D1" presStyleIdx="0" presStyleCnt="2"/>
      <dgm:spPr/>
      <dgm:t>
        <a:bodyPr/>
        <a:lstStyle/>
        <a:p>
          <a:endParaRPr lang="es-ES_tradnl"/>
        </a:p>
      </dgm:t>
    </dgm:pt>
    <dgm:pt modelId="{06494570-4DAD-1F46-907A-7B9BF84D3433}" type="pres">
      <dgm:prSet presAssocID="{35EF3295-D8C4-764C-B071-2B32067DD164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s-ES_tradnl"/>
        </a:p>
      </dgm:t>
    </dgm:pt>
    <dgm:pt modelId="{D1912DB2-AAA0-7E49-A246-9E16C418FD1A}" type="pres">
      <dgm:prSet presAssocID="{1A32C699-229E-1C42-97F6-DE47B92AC02D}" presName="sibTrans" presStyleLbl="sibTrans2D1" presStyleIdx="1" presStyleCnt="2"/>
      <dgm:spPr/>
      <dgm:t>
        <a:bodyPr/>
        <a:lstStyle/>
        <a:p>
          <a:endParaRPr lang="es-ES_tradnl"/>
        </a:p>
      </dgm:t>
    </dgm:pt>
    <dgm:pt modelId="{FAC6FC0F-90EA-9A4E-A1B3-2B42599787C1}" type="pres">
      <dgm:prSet presAssocID="{1A32C699-229E-1C42-97F6-DE47B92AC02D}" presName="connectorText" presStyleLbl="sibTrans2D1" presStyleIdx="1" presStyleCnt="2"/>
      <dgm:spPr/>
      <dgm:t>
        <a:bodyPr/>
        <a:lstStyle/>
        <a:p>
          <a:endParaRPr lang="es-ES_tradnl"/>
        </a:p>
      </dgm:t>
    </dgm:pt>
    <dgm:pt modelId="{E24BDE32-E84F-EF4D-A549-3FCC967C3076}" type="pres">
      <dgm:prSet presAssocID="{B05BF3AF-CC24-FB47-BC19-60DE7A383615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1FAB9603-05C0-C348-90D8-9E7A9CB4DFA6}" type="presOf" srcId="{F294AC2C-B552-2843-ADD2-16313FA7B401}" destId="{3AA605BB-AE8B-D24A-AA74-0ED3C2A38E36}" srcOrd="0" destOrd="0" presId="urn:microsoft.com/office/officeart/2005/8/layout/process2"/>
    <dgm:cxn modelId="{6AF8B76C-3EDF-3541-8686-25172060B57A}" type="presOf" srcId="{B05BF3AF-CC24-FB47-BC19-60DE7A383615}" destId="{E24BDE32-E84F-EF4D-A549-3FCC967C3076}" srcOrd="0" destOrd="0" presId="urn:microsoft.com/office/officeart/2005/8/layout/process2"/>
    <dgm:cxn modelId="{42183EA2-1826-7A41-9399-03AE9251E672}" type="presOf" srcId="{635E6A3D-8B92-8241-98CD-CF8D54779950}" destId="{683800E1-B6DD-A144-A38D-CFACB335BB77}" srcOrd="0" destOrd="0" presId="urn:microsoft.com/office/officeart/2005/8/layout/process2"/>
    <dgm:cxn modelId="{8DFD7281-6FAE-7D41-867D-2FC8E0CA6F28}" type="presOf" srcId="{35EF3295-D8C4-764C-B071-2B32067DD164}" destId="{06494570-4DAD-1F46-907A-7B9BF84D3433}" srcOrd="0" destOrd="0" presId="urn:microsoft.com/office/officeart/2005/8/layout/process2"/>
    <dgm:cxn modelId="{CEC238BE-397E-FE4F-94BA-027CE70A6E6E}" srcId="{F294AC2C-B552-2843-ADD2-16313FA7B401}" destId="{4A1E73D2-7D9C-3B4B-A0EF-CDE5272C3132}" srcOrd="0" destOrd="0" parTransId="{9650F941-E8C9-C243-B525-D768C038D910}" sibTransId="{635E6A3D-8B92-8241-98CD-CF8D54779950}"/>
    <dgm:cxn modelId="{770D44E0-DA95-984E-85C3-DA0ADE6EEED5}" type="presOf" srcId="{1A32C699-229E-1C42-97F6-DE47B92AC02D}" destId="{FAC6FC0F-90EA-9A4E-A1B3-2B42599787C1}" srcOrd="1" destOrd="0" presId="urn:microsoft.com/office/officeart/2005/8/layout/process2"/>
    <dgm:cxn modelId="{59F5CF80-702D-9045-9D25-AB63A383200B}" srcId="{F294AC2C-B552-2843-ADD2-16313FA7B401}" destId="{35EF3295-D8C4-764C-B071-2B32067DD164}" srcOrd="1" destOrd="0" parTransId="{83FEC610-E1E7-E14F-85AE-D6B2046932C3}" sibTransId="{1A32C699-229E-1C42-97F6-DE47B92AC02D}"/>
    <dgm:cxn modelId="{A33A81B4-0832-6947-9D89-D261EABFD163}" type="presOf" srcId="{635E6A3D-8B92-8241-98CD-CF8D54779950}" destId="{C6B34596-1905-C441-ABC2-4CBBFEE5DF1E}" srcOrd="1" destOrd="0" presId="urn:microsoft.com/office/officeart/2005/8/layout/process2"/>
    <dgm:cxn modelId="{D63A233A-ABCE-7241-B0B9-5B7AA9A62575}" type="presOf" srcId="{4A1E73D2-7D9C-3B4B-A0EF-CDE5272C3132}" destId="{86F0C516-3F43-AA44-9932-BB94119386F9}" srcOrd="0" destOrd="0" presId="urn:microsoft.com/office/officeart/2005/8/layout/process2"/>
    <dgm:cxn modelId="{DFE4C857-E201-184B-A77B-26B25025F512}" type="presOf" srcId="{1A32C699-229E-1C42-97F6-DE47B92AC02D}" destId="{D1912DB2-AAA0-7E49-A246-9E16C418FD1A}" srcOrd="0" destOrd="0" presId="urn:microsoft.com/office/officeart/2005/8/layout/process2"/>
    <dgm:cxn modelId="{BE236E6A-089D-0341-BC33-F03BA379876C}" srcId="{F294AC2C-B552-2843-ADD2-16313FA7B401}" destId="{B05BF3AF-CC24-FB47-BC19-60DE7A383615}" srcOrd="2" destOrd="0" parTransId="{CC2DDCF6-D83C-A047-84A8-03586E093A8F}" sibTransId="{2A9DD0A6-CD54-2948-8CE5-A0398636BB82}"/>
    <dgm:cxn modelId="{553DDBDA-01A2-4F4F-999C-7649FAFB3E10}" type="presParOf" srcId="{3AA605BB-AE8B-D24A-AA74-0ED3C2A38E36}" destId="{86F0C516-3F43-AA44-9932-BB94119386F9}" srcOrd="0" destOrd="0" presId="urn:microsoft.com/office/officeart/2005/8/layout/process2"/>
    <dgm:cxn modelId="{3F606F3B-06A3-B043-BF76-14E26A0B2EBC}" type="presParOf" srcId="{3AA605BB-AE8B-D24A-AA74-0ED3C2A38E36}" destId="{683800E1-B6DD-A144-A38D-CFACB335BB77}" srcOrd="1" destOrd="0" presId="urn:microsoft.com/office/officeart/2005/8/layout/process2"/>
    <dgm:cxn modelId="{8F8715EF-9919-1046-8D85-E8E239B898CF}" type="presParOf" srcId="{683800E1-B6DD-A144-A38D-CFACB335BB77}" destId="{C6B34596-1905-C441-ABC2-4CBBFEE5DF1E}" srcOrd="0" destOrd="0" presId="urn:microsoft.com/office/officeart/2005/8/layout/process2"/>
    <dgm:cxn modelId="{FA09C4D3-4812-284D-AD45-A2150E721B27}" type="presParOf" srcId="{3AA605BB-AE8B-D24A-AA74-0ED3C2A38E36}" destId="{06494570-4DAD-1F46-907A-7B9BF84D3433}" srcOrd="2" destOrd="0" presId="urn:microsoft.com/office/officeart/2005/8/layout/process2"/>
    <dgm:cxn modelId="{2441C78F-D2DA-164A-A821-D2590AEF555F}" type="presParOf" srcId="{3AA605BB-AE8B-D24A-AA74-0ED3C2A38E36}" destId="{D1912DB2-AAA0-7E49-A246-9E16C418FD1A}" srcOrd="3" destOrd="0" presId="urn:microsoft.com/office/officeart/2005/8/layout/process2"/>
    <dgm:cxn modelId="{09391F56-6BB7-1A4A-BBDF-B634755F2F41}" type="presParOf" srcId="{D1912DB2-AAA0-7E49-A246-9E16C418FD1A}" destId="{FAC6FC0F-90EA-9A4E-A1B3-2B42599787C1}" srcOrd="0" destOrd="0" presId="urn:microsoft.com/office/officeart/2005/8/layout/process2"/>
    <dgm:cxn modelId="{F90F88FB-6E04-8E4B-B1CC-A23E7DDAF53A}" type="presParOf" srcId="{3AA605BB-AE8B-D24A-AA74-0ED3C2A38E36}" destId="{E24BDE32-E84F-EF4D-A549-3FCC967C3076}" srcOrd="4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55D998E-4A98-4DFC-BEB8-39DE1D668C55}">
      <dsp:nvSpPr>
        <dsp:cNvPr id="0" name=""/>
        <dsp:cNvSpPr/>
      </dsp:nvSpPr>
      <dsp:spPr>
        <a:xfrm>
          <a:off x="-4409855" y="-676362"/>
          <a:ext cx="5253667" cy="5253667"/>
        </a:xfrm>
        <a:prstGeom prst="blockArc">
          <a:avLst>
            <a:gd name="adj1" fmla="val 18900000"/>
            <a:gd name="adj2" fmla="val 2700000"/>
            <a:gd name="adj3" fmla="val 411"/>
          </a:avLst>
        </a:prstGeom>
        <a:noFill/>
        <a:ln w="12700" cap="flat" cmpd="sng" algn="ctr">
          <a:solidFill>
            <a:srgbClr val="357FC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3274B59-64B1-4510-A897-A5F52F5EC695}">
      <dsp:nvSpPr>
        <dsp:cNvPr id="0" name=""/>
        <dsp:cNvSpPr/>
      </dsp:nvSpPr>
      <dsp:spPr>
        <a:xfrm>
          <a:off x="442028" y="299904"/>
          <a:ext cx="3232872" cy="600121"/>
        </a:xfrm>
        <a:prstGeom prst="roundRect">
          <a:avLst/>
        </a:prstGeom>
        <a:solidFill>
          <a:srgbClr val="FC8637"/>
        </a:solidFill>
        <a:ln w="12700" cap="flat" cmpd="sng" algn="ctr">
          <a:solidFill>
            <a:srgbClr val="FC863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76346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1 ) </a:t>
          </a:r>
          <a:r>
            <a:rPr lang="en-US" sz="1800" b="1" kern="1200" dirty="0" err="1" smtClean="0"/>
            <a:t>Descarga</a:t>
          </a:r>
          <a:r>
            <a:rPr lang="en-US" sz="1800" b="1" kern="1200" dirty="0" smtClean="0"/>
            <a:t> de </a:t>
          </a:r>
          <a:r>
            <a:rPr lang="en-US" sz="1800" b="1" kern="1200" dirty="0" err="1" smtClean="0"/>
            <a:t>código</a:t>
          </a:r>
          <a:r>
            <a:rPr lang="en-US" sz="1800" b="1" kern="1200" dirty="0" smtClean="0"/>
            <a:t> </a:t>
          </a:r>
          <a:endParaRPr lang="en-US" sz="1800" b="1" kern="1200" dirty="0"/>
        </a:p>
      </dsp:txBody>
      <dsp:txXfrm>
        <a:off x="471323" y="329199"/>
        <a:ext cx="3174282" cy="541531"/>
      </dsp:txXfrm>
    </dsp:sp>
    <dsp:sp modelId="{0418DFE2-97D2-4583-BDCC-94A8C87F990A}">
      <dsp:nvSpPr>
        <dsp:cNvPr id="0" name=""/>
        <dsp:cNvSpPr/>
      </dsp:nvSpPr>
      <dsp:spPr>
        <a:xfrm>
          <a:off x="66952" y="224889"/>
          <a:ext cx="750151" cy="75015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FC863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CC897A8-1B26-4298-92BE-28105FD16079}">
      <dsp:nvSpPr>
        <dsp:cNvPr id="0" name=""/>
        <dsp:cNvSpPr/>
      </dsp:nvSpPr>
      <dsp:spPr>
        <a:xfrm>
          <a:off x="786091" y="1200242"/>
          <a:ext cx="2888809" cy="600121"/>
        </a:xfrm>
        <a:prstGeom prst="roundRect">
          <a:avLst/>
        </a:prstGeom>
        <a:solidFill>
          <a:srgbClr val="79B84F"/>
        </a:solidFill>
        <a:ln w="12700" cap="flat" cmpd="sng" algn="ctr">
          <a:solidFill>
            <a:srgbClr val="79B84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76346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2 ) </a:t>
          </a:r>
          <a:r>
            <a:rPr lang="en-US" sz="1800" b="1" kern="1200" dirty="0" err="1" smtClean="0"/>
            <a:t>Compilación</a:t>
          </a:r>
          <a:endParaRPr lang="en-US" sz="1800" b="1" kern="1200" dirty="0"/>
        </a:p>
      </dsp:txBody>
      <dsp:txXfrm>
        <a:off x="815386" y="1229537"/>
        <a:ext cx="2830219" cy="541531"/>
      </dsp:txXfrm>
    </dsp:sp>
    <dsp:sp modelId="{7C1C7742-726E-48C5-B641-FEECF99B5373}">
      <dsp:nvSpPr>
        <dsp:cNvPr id="0" name=""/>
        <dsp:cNvSpPr/>
      </dsp:nvSpPr>
      <dsp:spPr>
        <a:xfrm>
          <a:off x="411015" y="1125227"/>
          <a:ext cx="750151" cy="75015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79B84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5D5634-25A9-49D6-A8FA-033DD89C8BCA}">
      <dsp:nvSpPr>
        <dsp:cNvPr id="0" name=""/>
        <dsp:cNvSpPr/>
      </dsp:nvSpPr>
      <dsp:spPr>
        <a:xfrm>
          <a:off x="786091" y="2100579"/>
          <a:ext cx="2888809" cy="600121"/>
        </a:xfrm>
        <a:prstGeom prst="roundRect">
          <a:avLst/>
        </a:prstGeom>
        <a:solidFill>
          <a:srgbClr val="FFCC05"/>
        </a:solidFill>
        <a:ln w="12700" cap="flat" cmpd="sng" algn="ctr">
          <a:solidFill>
            <a:srgbClr val="FFCC0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76346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3 ) </a:t>
          </a:r>
          <a:r>
            <a:rPr lang="en-US" sz="1800" b="1" kern="1200" dirty="0" err="1" smtClean="0"/>
            <a:t>Ejecución</a:t>
          </a:r>
          <a:r>
            <a:rPr lang="en-US" sz="1800" b="1" kern="1200" dirty="0" smtClean="0"/>
            <a:t> de </a:t>
          </a:r>
          <a:r>
            <a:rPr lang="en-US" sz="1800" b="1" kern="1200" dirty="0" err="1" smtClean="0"/>
            <a:t>pruebas</a:t>
          </a:r>
          <a:endParaRPr lang="en-US" sz="1800" b="1" kern="1200" dirty="0"/>
        </a:p>
      </dsp:txBody>
      <dsp:txXfrm>
        <a:off x="815386" y="2129874"/>
        <a:ext cx="2830219" cy="541531"/>
      </dsp:txXfrm>
    </dsp:sp>
    <dsp:sp modelId="{F4217230-3626-414D-8C8B-3EC2DA399F4A}">
      <dsp:nvSpPr>
        <dsp:cNvPr id="0" name=""/>
        <dsp:cNvSpPr/>
      </dsp:nvSpPr>
      <dsp:spPr>
        <a:xfrm>
          <a:off x="411015" y="2025564"/>
          <a:ext cx="750151" cy="75015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FFCC0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F420C10-D2A5-4923-A602-F73661542CF7}">
      <dsp:nvSpPr>
        <dsp:cNvPr id="0" name=""/>
        <dsp:cNvSpPr/>
      </dsp:nvSpPr>
      <dsp:spPr>
        <a:xfrm>
          <a:off x="442028" y="3000917"/>
          <a:ext cx="3232872" cy="600121"/>
        </a:xfrm>
        <a:prstGeom prst="flowChartAlternateProcess">
          <a:avLst/>
        </a:prstGeom>
        <a:solidFill>
          <a:srgbClr val="357FC2"/>
        </a:solidFill>
        <a:ln w="12700" cap="flat" cmpd="sng" algn="ctr">
          <a:solidFill>
            <a:srgbClr val="357FC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76346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4 ) </a:t>
          </a:r>
          <a:r>
            <a:rPr lang="en-US" sz="1800" b="1" kern="1200" dirty="0" err="1" smtClean="0"/>
            <a:t>Análisis</a:t>
          </a:r>
          <a:r>
            <a:rPr lang="en-US" sz="1800" b="1" kern="1200" dirty="0" smtClean="0"/>
            <a:t> </a:t>
          </a:r>
          <a:r>
            <a:rPr lang="en-US" sz="1800" b="1" kern="1200" dirty="0" err="1" smtClean="0"/>
            <a:t>estático</a:t>
          </a:r>
          <a:endParaRPr lang="en-US" sz="1800" b="1" kern="1200" dirty="0"/>
        </a:p>
      </dsp:txBody>
      <dsp:txXfrm>
        <a:off x="471323" y="3030212"/>
        <a:ext cx="3174282" cy="541531"/>
      </dsp:txXfrm>
    </dsp:sp>
    <dsp:sp modelId="{4DCC9EDB-CEA5-4C63-9061-79D115D54E15}">
      <dsp:nvSpPr>
        <dsp:cNvPr id="0" name=""/>
        <dsp:cNvSpPr/>
      </dsp:nvSpPr>
      <dsp:spPr>
        <a:xfrm>
          <a:off x="66952" y="2925902"/>
          <a:ext cx="750151" cy="75015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357FC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55D998E-4A98-4DFC-BEB8-39DE1D668C55}">
      <dsp:nvSpPr>
        <dsp:cNvPr id="0" name=""/>
        <dsp:cNvSpPr/>
      </dsp:nvSpPr>
      <dsp:spPr>
        <a:xfrm>
          <a:off x="-3372891" y="-518716"/>
          <a:ext cx="4021828" cy="4021828"/>
        </a:xfrm>
        <a:prstGeom prst="blockArc">
          <a:avLst>
            <a:gd name="adj1" fmla="val 18900000"/>
            <a:gd name="adj2" fmla="val 2700000"/>
            <a:gd name="adj3" fmla="val 537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3E659EC-0C81-45D6-B6EC-4FFB84539B40}">
      <dsp:nvSpPr>
        <dsp:cNvPr id="0" name=""/>
        <dsp:cNvSpPr/>
      </dsp:nvSpPr>
      <dsp:spPr>
        <a:xfrm>
          <a:off x="284776" y="186465"/>
          <a:ext cx="2273972" cy="373168"/>
        </a:xfrm>
        <a:prstGeom prst="rect">
          <a:avLst/>
        </a:prstGeom>
        <a:solidFill>
          <a:srgbClr val="FC863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6203" tIns="27940" rIns="27940" bIns="2794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2 ) </a:t>
          </a:r>
          <a:r>
            <a:rPr lang="en-US" sz="1100" kern="1200" dirty="0" err="1" smtClean="0"/>
            <a:t>Compilación</a:t>
          </a:r>
          <a:endParaRPr lang="en-US" sz="1100" kern="1200" dirty="0"/>
        </a:p>
      </dsp:txBody>
      <dsp:txXfrm>
        <a:off x="284776" y="186465"/>
        <a:ext cx="2273972" cy="373168"/>
      </dsp:txXfrm>
    </dsp:sp>
    <dsp:sp modelId="{7C1C7742-726E-48C5-B641-FEECF99B5373}">
      <dsp:nvSpPr>
        <dsp:cNvPr id="0" name=""/>
        <dsp:cNvSpPr/>
      </dsp:nvSpPr>
      <dsp:spPr>
        <a:xfrm>
          <a:off x="51545" y="139818"/>
          <a:ext cx="466461" cy="46646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B6A86BD-7ED7-488B-940C-8E461AEA7056}">
      <dsp:nvSpPr>
        <dsp:cNvPr id="0" name=""/>
        <dsp:cNvSpPr/>
      </dsp:nvSpPr>
      <dsp:spPr>
        <a:xfrm>
          <a:off x="552178" y="746039"/>
          <a:ext cx="2006570" cy="373168"/>
        </a:xfrm>
        <a:prstGeom prst="rect">
          <a:avLst/>
        </a:prstGeom>
        <a:solidFill>
          <a:srgbClr val="357FC2"/>
        </a:solidFill>
        <a:ln w="12700" cap="flat" cmpd="sng" algn="ctr">
          <a:solidFill>
            <a:srgbClr val="357FC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6203" tIns="27940" rIns="27940" bIns="2794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3 ) </a:t>
          </a:r>
          <a:r>
            <a:rPr lang="en-US" sz="1100" kern="1200" dirty="0" err="1" smtClean="0"/>
            <a:t>Ejecución</a:t>
          </a:r>
          <a:r>
            <a:rPr lang="en-US" sz="1100" kern="1200" dirty="0" smtClean="0"/>
            <a:t> de </a:t>
          </a:r>
          <a:r>
            <a:rPr lang="en-US" sz="1100" kern="1200" dirty="0" err="1" smtClean="0"/>
            <a:t>pruebas</a:t>
          </a:r>
          <a:endParaRPr lang="en-US" sz="1100" kern="1200" dirty="0"/>
        </a:p>
      </dsp:txBody>
      <dsp:txXfrm>
        <a:off x="552178" y="746039"/>
        <a:ext cx="2006570" cy="373168"/>
      </dsp:txXfrm>
    </dsp:sp>
    <dsp:sp modelId="{F4217230-3626-414D-8C8B-3EC2DA399F4A}">
      <dsp:nvSpPr>
        <dsp:cNvPr id="0" name=""/>
        <dsp:cNvSpPr/>
      </dsp:nvSpPr>
      <dsp:spPr>
        <a:xfrm>
          <a:off x="318947" y="699393"/>
          <a:ext cx="466461" cy="46646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56B310F-1BF6-4FE4-B5F7-7634DCBF49C7}">
      <dsp:nvSpPr>
        <dsp:cNvPr id="0" name=""/>
        <dsp:cNvSpPr/>
      </dsp:nvSpPr>
      <dsp:spPr>
        <a:xfrm>
          <a:off x="634249" y="1305613"/>
          <a:ext cx="1924499" cy="373168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6203" tIns="27940" rIns="27940" bIns="2794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4 ) </a:t>
          </a:r>
          <a:r>
            <a:rPr lang="en-US" sz="1100" kern="1200" dirty="0" err="1" smtClean="0"/>
            <a:t>Análisis</a:t>
          </a:r>
          <a:r>
            <a:rPr lang="en-US" sz="1100" kern="1200" dirty="0" smtClean="0"/>
            <a:t> </a:t>
          </a:r>
          <a:r>
            <a:rPr lang="en-US" sz="1100" kern="1200" dirty="0" err="1" smtClean="0"/>
            <a:t>estático</a:t>
          </a:r>
          <a:endParaRPr lang="en-US" sz="1100" kern="1200" dirty="0"/>
        </a:p>
      </dsp:txBody>
      <dsp:txXfrm>
        <a:off x="634249" y="1305613"/>
        <a:ext cx="1924499" cy="373168"/>
      </dsp:txXfrm>
    </dsp:sp>
    <dsp:sp modelId="{4DCC9EDB-CEA5-4C63-9061-79D115D54E15}">
      <dsp:nvSpPr>
        <dsp:cNvPr id="0" name=""/>
        <dsp:cNvSpPr/>
      </dsp:nvSpPr>
      <dsp:spPr>
        <a:xfrm>
          <a:off x="401018" y="1258967"/>
          <a:ext cx="466461" cy="46646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D6FFA0D-1717-41E7-8BCB-DC6ACE21570D}">
      <dsp:nvSpPr>
        <dsp:cNvPr id="0" name=""/>
        <dsp:cNvSpPr/>
      </dsp:nvSpPr>
      <dsp:spPr>
        <a:xfrm>
          <a:off x="552178" y="1865187"/>
          <a:ext cx="2006570" cy="37316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6203" tIns="27940" rIns="27940" bIns="2794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5 ) </a:t>
          </a:r>
          <a:r>
            <a:rPr lang="en-US" sz="1100" kern="1200" dirty="0" err="1" smtClean="0"/>
            <a:t>Generación</a:t>
          </a:r>
          <a:r>
            <a:rPr lang="en-US" sz="1100" kern="1200" dirty="0" smtClean="0"/>
            <a:t> </a:t>
          </a:r>
          <a:r>
            <a:rPr lang="en-US" sz="1100" kern="1200" smtClean="0"/>
            <a:t>de artefactos</a:t>
          </a:r>
          <a:endParaRPr lang="en-US" sz="1100" kern="1200" dirty="0"/>
        </a:p>
      </dsp:txBody>
      <dsp:txXfrm>
        <a:off x="552178" y="1865187"/>
        <a:ext cx="2006570" cy="373168"/>
      </dsp:txXfrm>
    </dsp:sp>
    <dsp:sp modelId="{A24D0F93-EBEA-4F09-AE6E-F095F72DD74B}">
      <dsp:nvSpPr>
        <dsp:cNvPr id="0" name=""/>
        <dsp:cNvSpPr/>
      </dsp:nvSpPr>
      <dsp:spPr>
        <a:xfrm>
          <a:off x="318947" y="1818541"/>
          <a:ext cx="466461" cy="46646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A45652B-64F5-F341-AF37-09953EAAE514}">
      <dsp:nvSpPr>
        <dsp:cNvPr id="0" name=""/>
        <dsp:cNvSpPr/>
      </dsp:nvSpPr>
      <dsp:spPr>
        <a:xfrm>
          <a:off x="284776" y="2424762"/>
          <a:ext cx="2273972" cy="37316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6203" tIns="27940" rIns="27940" bIns="2794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6 ) </a:t>
          </a:r>
          <a:r>
            <a:rPr lang="en-US" sz="1100" kern="1200" dirty="0" err="1" smtClean="0"/>
            <a:t>Entrega</a:t>
          </a:r>
          <a:r>
            <a:rPr lang="en-US" sz="1100" kern="1200" dirty="0" smtClean="0"/>
            <a:t> de </a:t>
          </a:r>
          <a:r>
            <a:rPr lang="en-US" sz="1100" kern="1200" smtClean="0"/>
            <a:t>artefactos</a:t>
          </a:r>
          <a:endParaRPr lang="en-US" sz="1100" kern="1200" dirty="0"/>
        </a:p>
      </dsp:txBody>
      <dsp:txXfrm>
        <a:off x="284776" y="2424762"/>
        <a:ext cx="2273972" cy="373168"/>
      </dsp:txXfrm>
    </dsp:sp>
    <dsp:sp modelId="{63DCB61B-6A64-D848-B7B2-3C6E7DB8105D}">
      <dsp:nvSpPr>
        <dsp:cNvPr id="0" name=""/>
        <dsp:cNvSpPr/>
      </dsp:nvSpPr>
      <dsp:spPr>
        <a:xfrm>
          <a:off x="51545" y="2378115"/>
          <a:ext cx="466461" cy="46646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F0C516-3F43-AA44-9932-BB94119386F9}">
      <dsp:nvSpPr>
        <dsp:cNvPr id="0" name=""/>
        <dsp:cNvSpPr/>
      </dsp:nvSpPr>
      <dsp:spPr>
        <a:xfrm>
          <a:off x="507881" y="0"/>
          <a:ext cx="1383678" cy="768710"/>
        </a:xfrm>
        <a:prstGeom prst="roundRect">
          <a:avLst>
            <a:gd name="adj" fmla="val 10000"/>
          </a:avLst>
        </a:prstGeom>
        <a:solidFill>
          <a:srgbClr val="FC8637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600" kern="1200" dirty="0" smtClean="0"/>
            <a:t>6 ) Desarrollo</a:t>
          </a:r>
          <a:endParaRPr lang="es-ES_tradnl" sz="1600" kern="1200" dirty="0"/>
        </a:p>
      </dsp:txBody>
      <dsp:txXfrm>
        <a:off x="530396" y="22515"/>
        <a:ext cx="1338648" cy="723680"/>
      </dsp:txXfrm>
    </dsp:sp>
    <dsp:sp modelId="{683800E1-B6DD-A144-A38D-CFACB335BB77}">
      <dsp:nvSpPr>
        <dsp:cNvPr id="0" name=""/>
        <dsp:cNvSpPr/>
      </dsp:nvSpPr>
      <dsp:spPr>
        <a:xfrm rot="5400000">
          <a:off x="1055587" y="787928"/>
          <a:ext cx="288266" cy="345919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_tradnl" sz="1400" kern="1200"/>
        </a:p>
      </dsp:txBody>
      <dsp:txXfrm rot="-5400000">
        <a:off x="1095945" y="816754"/>
        <a:ext cx="207551" cy="201786"/>
      </dsp:txXfrm>
    </dsp:sp>
    <dsp:sp modelId="{06494570-4DAD-1F46-907A-7B9BF84D3433}">
      <dsp:nvSpPr>
        <dsp:cNvPr id="0" name=""/>
        <dsp:cNvSpPr/>
      </dsp:nvSpPr>
      <dsp:spPr>
        <a:xfrm>
          <a:off x="507881" y="1153065"/>
          <a:ext cx="1383678" cy="768710"/>
        </a:xfrm>
        <a:prstGeom prst="roundRect">
          <a:avLst>
            <a:gd name="adj" fmla="val 10000"/>
          </a:avLst>
        </a:prstGeom>
        <a:solidFill>
          <a:srgbClr val="357FC2"/>
        </a:solidFill>
        <a:ln>
          <a:solidFill>
            <a:srgbClr val="357FC2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600" kern="1200" dirty="0" smtClean="0"/>
            <a:t>7 ) UAT</a:t>
          </a:r>
          <a:endParaRPr lang="es-ES_tradnl" sz="1600" kern="1200" dirty="0"/>
        </a:p>
      </dsp:txBody>
      <dsp:txXfrm>
        <a:off x="530396" y="1175580"/>
        <a:ext cx="1338648" cy="723680"/>
      </dsp:txXfrm>
    </dsp:sp>
    <dsp:sp modelId="{D1912DB2-AAA0-7E49-A246-9E16C418FD1A}">
      <dsp:nvSpPr>
        <dsp:cNvPr id="0" name=""/>
        <dsp:cNvSpPr/>
      </dsp:nvSpPr>
      <dsp:spPr>
        <a:xfrm rot="5400000">
          <a:off x="1055587" y="1940994"/>
          <a:ext cx="288266" cy="345919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_tradnl" sz="1400" kern="1200"/>
        </a:p>
      </dsp:txBody>
      <dsp:txXfrm rot="-5400000">
        <a:off x="1095945" y="1969820"/>
        <a:ext cx="207551" cy="201786"/>
      </dsp:txXfrm>
    </dsp:sp>
    <dsp:sp modelId="{E24BDE32-E84F-EF4D-A549-3FCC967C3076}">
      <dsp:nvSpPr>
        <dsp:cNvPr id="0" name=""/>
        <dsp:cNvSpPr/>
      </dsp:nvSpPr>
      <dsp:spPr>
        <a:xfrm>
          <a:off x="507881" y="2306131"/>
          <a:ext cx="1383678" cy="768710"/>
        </a:xfrm>
        <a:prstGeom prst="roundRect">
          <a:avLst>
            <a:gd name="adj" fmla="val 10000"/>
          </a:avLst>
        </a:prstGeom>
        <a:solidFill>
          <a:srgbClr val="79B84F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600" kern="1200" dirty="0" smtClean="0"/>
            <a:t>8 ) </a:t>
          </a:r>
          <a:r>
            <a:rPr lang="es-ES_tradnl" sz="1600" kern="1200" dirty="0" err="1" smtClean="0"/>
            <a:t>Producci</a:t>
          </a:r>
          <a:r>
            <a:rPr lang="en-US" sz="1600" kern="1200" dirty="0" err="1" smtClean="0"/>
            <a:t>ón</a:t>
          </a:r>
          <a:endParaRPr lang="es-ES_tradnl" sz="1600" kern="1200" dirty="0"/>
        </a:p>
      </dsp:txBody>
      <dsp:txXfrm>
        <a:off x="530396" y="2328646"/>
        <a:ext cx="1338648" cy="7236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45C4AD-3A4D-2945-B040-7C2C73BF5140}" type="datetimeFigureOut">
              <a:rPr lang="es-ES_tradnl" smtClean="0"/>
              <a:t>10/10/2019</a:t>
            </a:fld>
            <a:endParaRPr lang="es-ES_tradn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_tradn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D7A3D5-6102-334B-8903-3587DFECCD17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7593776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3524843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D7A3D5-6102-334B-8903-3587DFECCD17}" type="slidenum">
              <a:rPr lang="es-ES_tradnl" smtClean="0"/>
              <a:t>3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1372775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D7A3D5-6102-334B-8903-3587DFECCD17}" type="slidenum">
              <a:rPr lang="es-ES_tradnl" smtClean="0"/>
              <a:t>5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8436320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D7A3D5-6102-334B-8903-3587DFECCD17}" type="slidenum">
              <a:rPr lang="es-ES_tradnl" smtClean="0"/>
              <a:t>7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951768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D7A3D5-6102-334B-8903-3587DFECCD17}" type="slidenum">
              <a:rPr lang="es-ES_tradnl" smtClean="0"/>
              <a:t>8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8768380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D7A3D5-6102-334B-8903-3587DFECCD17}" type="slidenum">
              <a:rPr lang="es-ES_tradnl" smtClean="0"/>
              <a:t>9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470972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D7A3D5-6102-334B-8903-3587DFECCD17}" type="slidenum">
              <a:rPr lang="es-ES_tradnl" smtClean="0"/>
              <a:t>10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3997494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D7A3D5-6102-334B-8903-3587DFECCD17}" type="slidenum">
              <a:rPr lang="es-ES_tradnl" smtClean="0"/>
              <a:t>11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2690487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D7A3D5-6102-334B-8903-3587DFECCD17}" type="slidenum">
              <a:rPr lang="es-ES_tradnl" smtClean="0"/>
              <a:t>15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6715031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tif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18EAAA42-D336-9C41-AB8D-AC98F0C94C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768B2795-239B-3849-9522-43C9C9B6515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14DFD33D-4987-3945-854F-AA1A25BD72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DF5479-654F-A449-AE0C-24D71C466320}" type="datetimeFigureOut">
              <a:rPr lang="es-ES_tradnl" smtClean="0"/>
              <a:t>10/10/2019</a:t>
            </a:fld>
            <a:endParaRPr lang="es-ES_tradn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81D47755-DAD3-4D4E-86D6-69905E0D03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CDD56D66-B4AE-2543-B68B-82162F19DC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640BA-7C49-F243-99CF-088B98CA0B18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5766376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6CC220D8-47F5-8040-913D-A99D82DD89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FD59C0D5-0281-3C42-A45E-E91BC4FA2E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5ACB4D5F-D601-204B-A08D-7C225D7D1E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DF5479-654F-A449-AE0C-24D71C466320}" type="datetimeFigureOut">
              <a:rPr lang="es-ES_tradnl" smtClean="0"/>
              <a:t>10/10/2019</a:t>
            </a:fld>
            <a:endParaRPr lang="es-ES_tradn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5E62F992-863A-C540-8436-7F5FD6C0F8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EE5B4B7C-4B8E-0940-8B3A-C39370AD40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640BA-7C49-F243-99CF-088B98CA0B18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3230300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xmlns="" id="{B23DA788-9C0D-194A-A9D5-330C7EEE67A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xmlns="" id="{E222A4E8-34EA-0B44-97AA-EC4CEF853D3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66AA0AA6-5CE8-C84C-B0F6-CE121E9D3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DF5479-654F-A449-AE0C-24D71C466320}" type="datetimeFigureOut">
              <a:rPr lang="es-ES_tradnl" smtClean="0"/>
              <a:t>10/10/2019</a:t>
            </a:fld>
            <a:endParaRPr lang="es-ES_tradn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984248B6-8EFC-144E-BCC5-862820149D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62F0FAC0-9183-534C-BE16-FDEC941755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640BA-7C49-F243-99CF-088B98CA0B18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3676024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redi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0/10/2019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s-PE" smtClean="0"/>
              <a:t>‹Nº›</a:t>
            </a:fld>
            <a:endParaRPr lang="es-PE"/>
          </a:p>
        </p:txBody>
      </p:sp>
      <p:sp>
        <p:nvSpPr>
          <p:cNvPr id="6" name="object 2"/>
          <p:cNvSpPr/>
          <p:nvPr userDrawn="1"/>
        </p:nvSpPr>
        <p:spPr>
          <a:xfrm>
            <a:off x="0" y="62"/>
            <a:ext cx="12190476" cy="685761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5"/>
          <p:cNvSpPr/>
          <p:nvPr userDrawn="1"/>
        </p:nvSpPr>
        <p:spPr>
          <a:xfrm>
            <a:off x="2045207" y="3735323"/>
            <a:ext cx="4309110" cy="0"/>
          </a:xfrm>
          <a:custGeom>
            <a:avLst/>
            <a:gdLst/>
            <a:ahLst/>
            <a:cxnLst/>
            <a:rect l="l" t="t" r="r" b="b"/>
            <a:pathLst>
              <a:path w="4309110">
                <a:moveTo>
                  <a:pt x="0" y="0"/>
                </a:moveTo>
                <a:lnTo>
                  <a:pt x="4309109" y="0"/>
                </a:lnTo>
              </a:path>
            </a:pathLst>
          </a:custGeom>
          <a:ln w="9144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Imagen 8">
            <a:extLst>
              <a:ext uri="{FF2B5EF4-FFF2-40B4-BE49-F238E27FC236}">
                <a16:creationId xmlns:a16="http://schemas.microsoft.com/office/drawing/2014/main" xmlns="" id="{E618E24D-50AD-4F58-8D24-B0C8DF1F925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567" y="3044566"/>
            <a:ext cx="4078224" cy="103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335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209800" y="762000"/>
            <a:ext cx="7696200" cy="51435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3193" b="1" i="0">
                <a:solidFill>
                  <a:srgbClr val="005292"/>
                </a:solidFill>
                <a:latin typeface="Trebuchet MS"/>
                <a:cs typeface="Trebuchet MS"/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0/1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7" name="Conector recto 16">
            <a:extLst>
              <a:ext uri="{FF2B5EF4-FFF2-40B4-BE49-F238E27FC236}">
                <a16:creationId xmlns:a16="http://schemas.microsoft.com/office/drawing/2014/main" xmlns="" id="{9D0CCAA1-711E-4DED-8F49-1E333687ABF5}"/>
              </a:ext>
            </a:extLst>
          </p:cNvPr>
          <p:cNvCxnSpPr>
            <a:cxnSpLocks/>
          </p:cNvCxnSpPr>
          <p:nvPr userDrawn="1"/>
        </p:nvCxnSpPr>
        <p:spPr>
          <a:xfrm>
            <a:off x="3413760" y="1295400"/>
            <a:ext cx="5364480" cy="0"/>
          </a:xfrm>
          <a:prstGeom prst="line">
            <a:avLst/>
          </a:prstGeom>
          <a:ln w="28575">
            <a:solidFill>
              <a:srgbClr val="009EDF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0624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upo 11">
            <a:extLst>
              <a:ext uri="{FF2B5EF4-FFF2-40B4-BE49-F238E27FC236}">
                <a16:creationId xmlns:a16="http://schemas.microsoft.com/office/drawing/2014/main" xmlns="" id="{C18A93C7-3EF4-2847-BFC5-0FA8E5EC13A4}"/>
              </a:ext>
            </a:extLst>
          </p:cNvPr>
          <p:cNvGrpSpPr/>
          <p:nvPr userDrawn="1"/>
        </p:nvGrpSpPr>
        <p:grpSpPr>
          <a:xfrm>
            <a:off x="111729" y="52494"/>
            <a:ext cx="6222158" cy="858944"/>
            <a:chOff x="933661" y="276451"/>
            <a:chExt cx="6222158" cy="858944"/>
          </a:xfrm>
        </p:grpSpPr>
        <p:grpSp>
          <p:nvGrpSpPr>
            <p:cNvPr id="13" name="Grupo 377">
              <a:extLst>
                <a:ext uri="{FF2B5EF4-FFF2-40B4-BE49-F238E27FC236}">
                  <a16:creationId xmlns:a16="http://schemas.microsoft.com/office/drawing/2014/main" xmlns="" id="{851477EF-649D-BF48-9575-3BB87BD7BE46}"/>
                </a:ext>
              </a:extLst>
            </p:cNvPr>
            <p:cNvGrpSpPr/>
            <p:nvPr/>
          </p:nvGrpSpPr>
          <p:grpSpPr>
            <a:xfrm>
              <a:off x="933661" y="276451"/>
              <a:ext cx="6222158" cy="691879"/>
              <a:chOff x="-317500" y="-43512"/>
              <a:chExt cx="6222157" cy="691878"/>
            </a:xfrm>
          </p:grpSpPr>
          <p:pic>
            <p:nvPicPr>
              <p:cNvPr id="15" name="Picture 1" descr="Picture 1">
                <a:extLst>
                  <a:ext uri="{FF2B5EF4-FFF2-40B4-BE49-F238E27FC236}">
                    <a16:creationId xmlns:a16="http://schemas.microsoft.com/office/drawing/2014/main" xmlns="" id="{12B551FF-647B-7944-AAB8-3B9C013821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-317500" y="101206"/>
                <a:ext cx="547159" cy="547160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sp>
            <p:nvSpPr>
              <p:cNvPr id="18" name="Textplatzhalter 2">
                <a:extLst>
                  <a:ext uri="{FF2B5EF4-FFF2-40B4-BE49-F238E27FC236}">
                    <a16:creationId xmlns:a16="http://schemas.microsoft.com/office/drawing/2014/main" xmlns="" id="{75BB77AF-E0B5-A547-ACCA-35A109F64420}"/>
                  </a:ext>
                </a:extLst>
              </p:cNvPr>
              <p:cNvSpPr txBox="1"/>
              <p:nvPr/>
            </p:nvSpPr>
            <p:spPr>
              <a:xfrm>
                <a:off x="432047" y="-43512"/>
                <a:ext cx="5472610" cy="59423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50405" tIns="50405" rIns="50405" bIns="50405" numCol="1" anchor="ctr">
                <a:spAutoFit/>
              </a:bodyPr>
              <a:lstStyle>
                <a:lvl1pPr>
                  <a:spcBef>
                    <a:spcPts val="600"/>
                  </a:spcBef>
                  <a:defRPr sz="2800" b="1">
                    <a:solidFill>
                      <a:srgbClr val="2F5597"/>
                    </a:solidFill>
                  </a:defRPr>
                </a:lvl1pPr>
              </a:lstStyle>
              <a:p>
                <a:endParaRPr lang="es-ES" sz="3200" dirty="0"/>
              </a:p>
            </p:txBody>
          </p:sp>
        </p:grpSp>
        <p:sp>
          <p:nvSpPr>
            <p:cNvPr id="14" name="Rectángulo 11">
              <a:extLst>
                <a:ext uri="{FF2B5EF4-FFF2-40B4-BE49-F238E27FC236}">
                  <a16:creationId xmlns:a16="http://schemas.microsoft.com/office/drawing/2014/main" xmlns="" id="{F6684EA7-2347-FC43-BD63-5D6BF942E163}"/>
                </a:ext>
              </a:extLst>
            </p:cNvPr>
            <p:cNvSpPr txBox="1"/>
            <p:nvPr/>
          </p:nvSpPr>
          <p:spPr>
            <a:xfrm>
              <a:off x="1706632" y="735285"/>
              <a:ext cx="92396" cy="40011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2000">
                  <a:solidFill>
                    <a:srgbClr val="00B050"/>
                  </a:solidFill>
                </a:defRPr>
              </a:lvl1pPr>
            </a:lstStyle>
            <a:p>
              <a:endParaRPr lang="es-ES" dirty="0"/>
            </a:p>
          </p:txBody>
        </p:sp>
      </p:grpSp>
      <p:pic>
        <p:nvPicPr>
          <p:cNvPr id="19" name="Imagen 18">
            <a:extLst>
              <a:ext uri="{FF2B5EF4-FFF2-40B4-BE49-F238E27FC236}">
                <a16:creationId xmlns:a16="http://schemas.microsoft.com/office/drawing/2014/main" xmlns="" id="{F67B30E0-99FC-024A-B701-A7268748A6E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006093" y="36967"/>
            <a:ext cx="2036667" cy="611000"/>
          </a:xfrm>
          <a:prstGeom prst="rect">
            <a:avLst/>
          </a:prstGeom>
        </p:spPr>
      </p:pic>
      <p:sp>
        <p:nvSpPr>
          <p:cNvPr id="20" name="object 10">
            <a:extLst>
              <a:ext uri="{FF2B5EF4-FFF2-40B4-BE49-F238E27FC236}">
                <a16:creationId xmlns:a16="http://schemas.microsoft.com/office/drawing/2014/main" xmlns="" id="{66FE3200-CA3F-B64E-B57D-134898744335}"/>
              </a:ext>
            </a:extLst>
          </p:cNvPr>
          <p:cNvSpPr/>
          <p:nvPr userDrawn="1"/>
        </p:nvSpPr>
        <p:spPr>
          <a:xfrm>
            <a:off x="6943477" y="0"/>
            <a:ext cx="1751897" cy="1050619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89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10"/>
          </p:nvPr>
        </p:nvSpPr>
        <p:spPr>
          <a:xfrm>
            <a:off x="884237" y="196850"/>
            <a:ext cx="6059239" cy="547523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None/>
              <a:defRPr lang="es-ES" sz="3200" b="1" kern="1200" dirty="0" smtClean="0">
                <a:solidFill>
                  <a:srgbClr val="2F5597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5pPr marL="1828800" indent="0">
              <a:buNone/>
              <a:defRPr/>
            </a:lvl5pPr>
          </a:lstStyle>
          <a:p>
            <a:pPr lvl="0"/>
            <a:r>
              <a:rPr lang="es-ES" dirty="0" smtClean="0"/>
              <a:t>Editar el estilo de texto del patrón</a:t>
            </a:r>
          </a:p>
        </p:txBody>
      </p:sp>
      <p:sp>
        <p:nvSpPr>
          <p:cNvPr id="42" name="Marcador de texto 41"/>
          <p:cNvSpPr>
            <a:spLocks noGrp="1"/>
          </p:cNvSpPr>
          <p:nvPr>
            <p:ph type="body" sz="quarter" idx="11"/>
          </p:nvPr>
        </p:nvSpPr>
        <p:spPr>
          <a:xfrm>
            <a:off x="884238" y="744538"/>
            <a:ext cx="6059487" cy="452437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buNone/>
              <a:defRPr lang="es-ES" sz="2000" kern="1200" dirty="0" smtClean="0">
                <a:solidFill>
                  <a:srgbClr val="00B050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s-ES" sz="2000" kern="1200" dirty="0" smtClean="0">
                <a:solidFill>
                  <a:srgbClr val="00B050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s-ES" sz="2000" kern="1200" dirty="0" smtClean="0">
                <a:solidFill>
                  <a:srgbClr val="00B05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s-ES" sz="2000" kern="1200" dirty="0" smtClean="0">
                <a:solidFill>
                  <a:srgbClr val="00B050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2000" kern="1200" dirty="0">
                <a:solidFill>
                  <a:srgbClr val="00B05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774835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3">
            <a:extLst>
              <a:ext uri="{FF2B5EF4-FFF2-40B4-BE49-F238E27FC236}">
                <a16:creationId xmlns:a16="http://schemas.microsoft.com/office/drawing/2014/main" xmlns="" id="{626CF403-E9F2-4CAD-BF1A-341343557A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50"/>
            <a:ext cx="11887200" cy="6699142"/>
          </a:xfrm>
          <a:prstGeom prst="rect">
            <a:avLst/>
          </a:prstGeom>
        </p:spPr>
      </p:pic>
      <p:pic>
        <p:nvPicPr>
          <p:cNvPr id="11" name="Imagen 13">
            <a:extLst>
              <a:ext uri="{FF2B5EF4-FFF2-40B4-BE49-F238E27FC236}">
                <a16:creationId xmlns:a16="http://schemas.microsoft.com/office/drawing/2014/main" xmlns="" id="{2516B76B-EA70-48FF-A3C9-2C37554C85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345" y="0"/>
            <a:ext cx="12196345" cy="6873364"/>
          </a:xfrm>
          <a:prstGeom prst="rect">
            <a:avLst/>
          </a:prstGeom>
        </p:spPr>
      </p:pic>
      <p:sp>
        <p:nvSpPr>
          <p:cNvPr id="14" name="object 7"/>
          <p:cNvSpPr/>
          <p:nvPr userDrawn="1"/>
        </p:nvSpPr>
        <p:spPr>
          <a:xfrm>
            <a:off x="751975" y="4005784"/>
            <a:ext cx="1176643" cy="18521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defTabSz="91441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15" name="Imagen 2">
            <a:extLst>
              <a:ext uri="{FF2B5EF4-FFF2-40B4-BE49-F238E27FC236}">
                <a16:creationId xmlns:a16="http://schemas.microsoft.com/office/drawing/2014/main" xmlns="" id="{C4EA673F-8A25-40D9-A6FD-BF064CB6C5B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528" y="5628432"/>
            <a:ext cx="3364272" cy="848568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723900" y="1905000"/>
            <a:ext cx="3619500" cy="711200"/>
          </a:xfrm>
          <a:prstGeom prst="rect">
            <a:avLst/>
          </a:prstGeom>
        </p:spPr>
        <p:txBody>
          <a:bodyPr/>
          <a:lstStyle>
            <a:lvl1pPr algn="l">
              <a:defRPr lang="es-PE" sz="4400" b="1" dirty="0">
                <a:solidFill>
                  <a:srgbClr val="0070C0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7135466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C1F0C48B-C9FB-2F4F-A323-73337F11CF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303C620F-E7C8-3D48-A244-3D00FE0285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D078D9F5-F209-284A-820B-A0A2720B6B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DF5479-654F-A449-AE0C-24D71C466320}" type="datetimeFigureOut">
              <a:rPr lang="es-ES_tradnl" smtClean="0"/>
              <a:t>10/10/2019</a:t>
            </a:fld>
            <a:endParaRPr lang="es-ES_tradn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7963674B-62A2-0941-B09C-E61269F67D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E616B69D-14C6-8642-9831-949505D93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640BA-7C49-F243-99CF-088B98CA0B18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6008955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0212B29C-835A-E843-BC62-3029980156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007C5905-DA1B-124B-97D8-9A604411B6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74D4B66D-2AB1-024A-A0E6-B96F2251E8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DF5479-654F-A449-AE0C-24D71C466320}" type="datetimeFigureOut">
              <a:rPr lang="es-ES_tradnl" smtClean="0"/>
              <a:t>10/10/2019</a:t>
            </a:fld>
            <a:endParaRPr lang="es-ES_tradn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80B17A38-390C-744B-AB9B-768A99BA0F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8328428A-17A1-1243-8164-C0083AE78A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640BA-7C49-F243-99CF-088B98CA0B18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9128236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A54930AD-4EF6-2646-9050-0BE69796AD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3D12F6E1-08A9-9249-AC39-E8A595F30E6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3DD620C2-9A55-7548-8A57-F100F168DE0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F5A8A28F-EA2D-D546-B662-491157AFB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DF5479-654F-A449-AE0C-24D71C466320}" type="datetimeFigureOut">
              <a:rPr lang="es-ES_tradnl" smtClean="0"/>
              <a:t>10/10/2019</a:t>
            </a:fld>
            <a:endParaRPr lang="es-ES_tradn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0C0D9CA3-D1D1-674E-B39C-C1F3B2C937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980128C7-B435-D14A-B503-FB8768C7DE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640BA-7C49-F243-99CF-088B98CA0B18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816993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805BB622-B19F-5449-BE4D-5AB568EDE9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E2BEA1D2-93B9-4F48-8D04-6754378719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xmlns="" id="{369E4D15-9347-324A-989D-BF9D8703EF6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xmlns="" id="{3D1D0C7A-5DE1-FD42-8D70-F4D136C5A06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xmlns="" id="{047ADC3C-C862-3749-9FB2-51663531D3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xmlns="" id="{B15957A9-AAB5-1646-AF75-F3971D19F0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DF5479-654F-A449-AE0C-24D71C466320}" type="datetimeFigureOut">
              <a:rPr lang="es-ES_tradnl" smtClean="0"/>
              <a:t>10/10/2019</a:t>
            </a:fld>
            <a:endParaRPr lang="es-ES_tradnl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xmlns="" id="{7CEFAB5A-F451-584A-B345-37B0F376F0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xmlns="" id="{3075A466-0714-334F-8BBD-87E38C3D07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640BA-7C49-F243-99CF-088B98CA0B18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7463479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319EBA2A-9C3A-CE41-AA31-A5C5D3365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xmlns="" id="{4FBEC9A6-CC7C-174E-9372-ADABD3DACD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DF5479-654F-A449-AE0C-24D71C466320}" type="datetimeFigureOut">
              <a:rPr lang="es-ES_tradnl" smtClean="0"/>
              <a:t>10/10/2019</a:t>
            </a:fld>
            <a:endParaRPr lang="es-ES_tradn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28B20F0D-49D9-BB49-8140-664350F530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005F3FA9-63BC-6443-ABFB-2AF341F098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640BA-7C49-F243-99CF-088B98CA0B18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339951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xmlns="" id="{F52B8C69-A3C8-6942-873F-B5EB3184A1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DF5479-654F-A449-AE0C-24D71C466320}" type="datetimeFigureOut">
              <a:rPr lang="es-ES_tradnl" smtClean="0"/>
              <a:t>10/10/2019</a:t>
            </a:fld>
            <a:endParaRPr lang="es-ES_tradnl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xmlns="" id="{CB6AE35E-392C-D547-8E46-FA8D0E0D85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xmlns="" id="{6330D113-A5B0-4D48-AA70-C5EA0266E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640BA-7C49-F243-99CF-088B98CA0B18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3601358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38A43603-A06E-D84F-A9A5-E9D2137B02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C53A4A27-EC38-D14B-91D7-C452C22D29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F1F618E0-BF67-C44A-B3F1-ED426E6801A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D2E8E095-33C2-3145-A1C9-9B61224C22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DF5479-654F-A449-AE0C-24D71C466320}" type="datetimeFigureOut">
              <a:rPr lang="es-ES_tradnl" smtClean="0"/>
              <a:t>10/10/2019</a:t>
            </a:fld>
            <a:endParaRPr lang="es-ES_tradn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2A536634-DB6F-FF43-A86C-954B241786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E0B5D837-54CE-D74C-A93A-D0337AEA33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640BA-7C49-F243-99CF-088B98CA0B18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0836982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99834EEF-300E-4F47-BEF8-1B48E4E120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5ADF1AB7-2463-FE45-A335-128832B42D9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_tradn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xmlns="" id="{6E88B06F-14F6-E54D-BAE1-216B6DE5E4B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xmlns="" id="{528C7718-F838-2F4F-AE79-02FA05EDA6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DF5479-654F-A449-AE0C-24D71C466320}" type="datetimeFigureOut">
              <a:rPr lang="es-ES_tradnl" smtClean="0"/>
              <a:t>10/10/2019</a:t>
            </a:fld>
            <a:endParaRPr lang="es-ES_tradn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xmlns="" id="{AE29BF29-6180-FA4D-A570-4172A4DA6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xmlns="" id="{48D49484-0FE2-1942-AF06-59FA190D4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640BA-7C49-F243-99CF-088B98CA0B18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5805518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xmlns="" id="{3608FDDE-6AEB-7443-9B54-75C4E77E5F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xmlns="" id="{D03E485B-F41A-5643-94F0-8BF13F9378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0244DB01-46B8-A344-8C97-9A2CA978BC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DF5479-654F-A449-AE0C-24D71C466320}" type="datetimeFigureOut">
              <a:rPr lang="es-ES_tradnl" smtClean="0"/>
              <a:t>10/10/2019</a:t>
            </a:fld>
            <a:endParaRPr lang="es-ES_tradn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D451C007-3A32-774E-A954-F8DF0A8C84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AD060A5B-FE7E-F947-ACEF-A185C0BA14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0640BA-7C49-F243-99CF-088B98CA0B18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062672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2" r:id="rId13"/>
    <p:sldLayoutId id="2147483664" r:id="rId14"/>
    <p:sldLayoutId id="2147483665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1.png"/><Relationship Id="rId7" Type="http://schemas.openxmlformats.org/officeDocument/2006/relationships/diagramColors" Target="../diagrams/colors1.xml"/><Relationship Id="rId12" Type="http://schemas.openxmlformats.org/officeDocument/2006/relationships/image" Target="../media/image1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4.xml"/><Relationship Id="rId6" Type="http://schemas.openxmlformats.org/officeDocument/2006/relationships/diagramQuickStyle" Target="../diagrams/quickStyle1.xml"/><Relationship Id="rId11" Type="http://schemas.openxmlformats.org/officeDocument/2006/relationships/image" Target="../media/image24.png"/><Relationship Id="rId5" Type="http://schemas.openxmlformats.org/officeDocument/2006/relationships/diagramLayout" Target="../diagrams/layout1.xml"/><Relationship Id="rId10" Type="http://schemas.openxmlformats.org/officeDocument/2006/relationships/image" Target="../media/image23.png"/><Relationship Id="rId4" Type="http://schemas.openxmlformats.org/officeDocument/2006/relationships/diagramData" Target="../diagrams/data1.xml"/><Relationship Id="rId9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13" Type="http://schemas.openxmlformats.org/officeDocument/2006/relationships/image" Target="../media/image36.png"/><Relationship Id="rId18" Type="http://schemas.openxmlformats.org/officeDocument/2006/relationships/image" Target="../media/image41.png"/><Relationship Id="rId3" Type="http://schemas.openxmlformats.org/officeDocument/2006/relationships/image" Target="../media/image26.png"/><Relationship Id="rId21" Type="http://schemas.openxmlformats.org/officeDocument/2006/relationships/image" Target="../media/image11.png"/><Relationship Id="rId7" Type="http://schemas.openxmlformats.org/officeDocument/2006/relationships/image" Target="../media/image30.jpeg"/><Relationship Id="rId12" Type="http://schemas.openxmlformats.org/officeDocument/2006/relationships/image" Target="../media/image35.png"/><Relationship Id="rId17" Type="http://schemas.openxmlformats.org/officeDocument/2006/relationships/image" Target="../media/image40.png"/><Relationship Id="rId2" Type="http://schemas.openxmlformats.org/officeDocument/2006/relationships/image" Target="../media/image25.png"/><Relationship Id="rId16" Type="http://schemas.openxmlformats.org/officeDocument/2006/relationships/image" Target="../media/image39.png"/><Relationship Id="rId20" Type="http://schemas.openxmlformats.org/officeDocument/2006/relationships/image" Target="../media/image43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5" Type="http://schemas.openxmlformats.org/officeDocument/2006/relationships/image" Target="../media/image38.png"/><Relationship Id="rId10" Type="http://schemas.openxmlformats.org/officeDocument/2006/relationships/image" Target="../media/image33.png"/><Relationship Id="rId19" Type="http://schemas.openxmlformats.org/officeDocument/2006/relationships/image" Target="../media/image42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Relationship Id="rId14" Type="http://schemas.openxmlformats.org/officeDocument/2006/relationships/image" Target="../media/image3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13" Type="http://schemas.openxmlformats.org/officeDocument/2006/relationships/image" Target="../media/image23.png"/><Relationship Id="rId18" Type="http://schemas.openxmlformats.org/officeDocument/2006/relationships/image" Target="../media/image52.png"/><Relationship Id="rId26" Type="http://schemas.openxmlformats.org/officeDocument/2006/relationships/diagramColors" Target="../diagrams/colors3.xml"/><Relationship Id="rId39" Type="http://schemas.openxmlformats.org/officeDocument/2006/relationships/image" Target="../media/image68.png"/><Relationship Id="rId3" Type="http://schemas.openxmlformats.org/officeDocument/2006/relationships/image" Target="../media/image24.png"/><Relationship Id="rId21" Type="http://schemas.openxmlformats.org/officeDocument/2006/relationships/image" Target="../media/image55.png"/><Relationship Id="rId34" Type="http://schemas.openxmlformats.org/officeDocument/2006/relationships/image" Target="../media/image63.png"/><Relationship Id="rId42" Type="http://schemas.openxmlformats.org/officeDocument/2006/relationships/image" Target="../media/image11.png"/><Relationship Id="rId7" Type="http://schemas.openxmlformats.org/officeDocument/2006/relationships/diagramLayout" Target="../diagrams/layout2.xml"/><Relationship Id="rId12" Type="http://schemas.openxmlformats.org/officeDocument/2006/relationships/image" Target="../media/image47.png"/><Relationship Id="rId17" Type="http://schemas.openxmlformats.org/officeDocument/2006/relationships/image" Target="../media/image51.png"/><Relationship Id="rId25" Type="http://schemas.openxmlformats.org/officeDocument/2006/relationships/diagramQuickStyle" Target="../diagrams/quickStyle3.xml"/><Relationship Id="rId33" Type="http://schemas.openxmlformats.org/officeDocument/2006/relationships/image" Target="../media/image62.png"/><Relationship Id="rId38" Type="http://schemas.openxmlformats.org/officeDocument/2006/relationships/image" Target="../media/image67.png"/><Relationship Id="rId2" Type="http://schemas.openxmlformats.org/officeDocument/2006/relationships/image" Target="../media/image44.png"/><Relationship Id="rId16" Type="http://schemas.openxmlformats.org/officeDocument/2006/relationships/image" Target="../media/image50.png"/><Relationship Id="rId20" Type="http://schemas.openxmlformats.org/officeDocument/2006/relationships/image" Target="../media/image54.png"/><Relationship Id="rId29" Type="http://schemas.openxmlformats.org/officeDocument/2006/relationships/image" Target="../media/image58.png"/><Relationship Id="rId41" Type="http://schemas.openxmlformats.org/officeDocument/2006/relationships/image" Target="../media/image70.png"/><Relationship Id="rId1" Type="http://schemas.openxmlformats.org/officeDocument/2006/relationships/slideLayout" Target="../slideLayouts/slideLayout14.xml"/><Relationship Id="rId6" Type="http://schemas.openxmlformats.org/officeDocument/2006/relationships/diagramData" Target="../diagrams/data2.xml"/><Relationship Id="rId11" Type="http://schemas.openxmlformats.org/officeDocument/2006/relationships/image" Target="../media/image46.jpeg"/><Relationship Id="rId24" Type="http://schemas.openxmlformats.org/officeDocument/2006/relationships/diagramLayout" Target="../diagrams/layout3.xml"/><Relationship Id="rId32" Type="http://schemas.openxmlformats.org/officeDocument/2006/relationships/image" Target="../media/image61.png"/><Relationship Id="rId37" Type="http://schemas.openxmlformats.org/officeDocument/2006/relationships/image" Target="../media/image66.png"/><Relationship Id="rId40" Type="http://schemas.openxmlformats.org/officeDocument/2006/relationships/image" Target="../media/image69.png"/><Relationship Id="rId5" Type="http://schemas.openxmlformats.org/officeDocument/2006/relationships/image" Target="../media/image21.png"/><Relationship Id="rId15" Type="http://schemas.openxmlformats.org/officeDocument/2006/relationships/image" Target="../media/image49.png"/><Relationship Id="rId23" Type="http://schemas.openxmlformats.org/officeDocument/2006/relationships/diagramData" Target="../diagrams/data3.xml"/><Relationship Id="rId28" Type="http://schemas.openxmlformats.org/officeDocument/2006/relationships/image" Target="../media/image57.jpeg"/><Relationship Id="rId36" Type="http://schemas.openxmlformats.org/officeDocument/2006/relationships/image" Target="../media/image65.png"/><Relationship Id="rId10" Type="http://schemas.microsoft.com/office/2007/relationships/diagramDrawing" Target="../diagrams/drawing2.xml"/><Relationship Id="rId19" Type="http://schemas.openxmlformats.org/officeDocument/2006/relationships/image" Target="../media/image53.png"/><Relationship Id="rId31" Type="http://schemas.openxmlformats.org/officeDocument/2006/relationships/image" Target="../media/image60.png"/><Relationship Id="rId4" Type="http://schemas.openxmlformats.org/officeDocument/2006/relationships/image" Target="../media/image45.jpeg"/><Relationship Id="rId9" Type="http://schemas.openxmlformats.org/officeDocument/2006/relationships/diagramColors" Target="../diagrams/colors2.xml"/><Relationship Id="rId14" Type="http://schemas.openxmlformats.org/officeDocument/2006/relationships/image" Target="../media/image48.png"/><Relationship Id="rId22" Type="http://schemas.openxmlformats.org/officeDocument/2006/relationships/image" Target="../media/image56.png"/><Relationship Id="rId27" Type="http://schemas.microsoft.com/office/2007/relationships/diagramDrawing" Target="../diagrams/drawing3.xml"/><Relationship Id="rId30" Type="http://schemas.openxmlformats.org/officeDocument/2006/relationships/image" Target="../media/image59.png"/><Relationship Id="rId35" Type="http://schemas.openxmlformats.org/officeDocument/2006/relationships/image" Target="../media/image6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1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4.png"/><Relationship Id="rId11" Type="http://schemas.openxmlformats.org/officeDocument/2006/relationships/image" Target="../media/image11.png"/><Relationship Id="rId5" Type="http://schemas.openxmlformats.org/officeDocument/2006/relationships/image" Target="../media/image73.png"/><Relationship Id="rId10" Type="http://schemas.openxmlformats.org/officeDocument/2006/relationships/image" Target="../media/image76.png"/><Relationship Id="rId4" Type="http://schemas.openxmlformats.org/officeDocument/2006/relationships/image" Target="../media/image72.png"/><Relationship Id="rId9" Type="http://schemas.openxmlformats.org/officeDocument/2006/relationships/image" Target="../media/image5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1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6"/>
          <p:cNvSpPr txBox="1"/>
          <p:nvPr/>
        </p:nvSpPr>
        <p:spPr>
          <a:xfrm>
            <a:off x="838200" y="4343400"/>
            <a:ext cx="3653448" cy="262892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spcBef>
                <a:spcPts val="130"/>
              </a:spcBef>
            </a:pPr>
            <a:r>
              <a:rPr lang="es-ES" sz="1600" spc="10" dirty="0" smtClean="0">
                <a:solidFill>
                  <a:srgbClr val="7A7A7C"/>
                </a:solidFill>
                <a:latin typeface="Trebuchet MS"/>
                <a:cs typeface="Trebuchet MS"/>
              </a:rPr>
              <a:t>Arequipa</a:t>
            </a:r>
            <a:r>
              <a:rPr sz="1600" spc="10" dirty="0" smtClean="0">
                <a:solidFill>
                  <a:srgbClr val="7A7A7C"/>
                </a:solidFill>
                <a:latin typeface="Trebuchet MS"/>
                <a:cs typeface="Trebuchet MS"/>
              </a:rPr>
              <a:t>, </a:t>
            </a:r>
            <a:r>
              <a:rPr lang="en-US" sz="1600" spc="15" dirty="0" err="1" smtClean="0">
                <a:solidFill>
                  <a:srgbClr val="7A7A7C"/>
                </a:solidFill>
                <a:latin typeface="Trebuchet MS"/>
                <a:cs typeface="Trebuchet MS"/>
              </a:rPr>
              <a:t>Octubre</a:t>
            </a:r>
            <a:r>
              <a:rPr lang="en-US" sz="1600" spc="15" dirty="0" smtClean="0">
                <a:solidFill>
                  <a:srgbClr val="7A7A7C"/>
                </a:solidFill>
                <a:latin typeface="Trebuchet MS"/>
                <a:cs typeface="Trebuchet MS"/>
              </a:rPr>
              <a:t> 2019</a:t>
            </a:r>
            <a:endParaRPr lang="en-US" sz="1600" spc="15" dirty="0" smtClean="0">
              <a:solidFill>
                <a:srgbClr val="7A7A7C"/>
              </a:solidFill>
              <a:latin typeface="Trebuchet MS"/>
              <a:cs typeface="Trebuchet MS"/>
            </a:endParaRPr>
          </a:p>
        </p:txBody>
      </p:sp>
      <p:sp>
        <p:nvSpPr>
          <p:cNvPr id="7" name="TextBox 7">
            <a:extLst>
              <a:ext uri="{FF2B5EF4-FFF2-40B4-BE49-F238E27FC236}">
                <a16:creationId xmlns:a16="http://schemas.microsoft.com/office/drawing/2014/main" xmlns="" id="{00C501A0-D966-024F-A395-9F5232E5048F}"/>
              </a:ext>
            </a:extLst>
          </p:cNvPr>
          <p:cNvSpPr txBox="1"/>
          <p:nvPr/>
        </p:nvSpPr>
        <p:spPr>
          <a:xfrm>
            <a:off x="694307" y="2630402"/>
            <a:ext cx="5019128" cy="13822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3542" rIns="43542">
            <a:spAutoFit/>
          </a:bodyPr>
          <a:lstStyle/>
          <a:p>
            <a:pPr>
              <a:defRPr sz="3600" b="1">
                <a:solidFill>
                  <a:srgbClr val="2F5597"/>
                </a:solidFill>
              </a:defRPr>
            </a:pPr>
            <a:r>
              <a:rPr lang="es-ES_tradnl" sz="3048" dirty="0" smtClean="0"/>
              <a:t>Fundamentos de DevOps</a:t>
            </a:r>
            <a:r>
              <a:rPr lang="es-ES_tradnl" sz="3429" dirty="0"/>
              <a:t/>
            </a:r>
            <a:br>
              <a:rPr lang="es-ES_tradnl" sz="3429" dirty="0"/>
            </a:br>
            <a:r>
              <a:rPr lang="es-ES_tradnl" sz="2667" dirty="0" smtClean="0">
                <a:solidFill>
                  <a:srgbClr val="00B050"/>
                </a:solidFill>
              </a:rPr>
              <a:t>Introducción a la </a:t>
            </a:r>
            <a:r>
              <a:rPr lang="es-ES_tradnl" sz="2667" dirty="0" smtClean="0">
                <a:solidFill>
                  <a:srgbClr val="00B050"/>
                </a:solidFill>
              </a:rPr>
              <a:t>Adopción </a:t>
            </a:r>
            <a:r>
              <a:rPr lang="es-ES_tradnl" sz="2667" dirty="0" smtClean="0">
                <a:solidFill>
                  <a:srgbClr val="00B050"/>
                </a:solidFill>
              </a:rPr>
              <a:t>de </a:t>
            </a:r>
            <a:r>
              <a:rPr lang="es-ES_tradnl" sz="2667" dirty="0" smtClean="0">
                <a:solidFill>
                  <a:srgbClr val="00B050"/>
                </a:solidFill>
              </a:rPr>
              <a:t>Prácticas </a:t>
            </a:r>
            <a:r>
              <a:rPr lang="es-ES_tradnl" sz="2667" dirty="0" smtClean="0">
                <a:solidFill>
                  <a:srgbClr val="00B050"/>
                </a:solidFill>
              </a:rPr>
              <a:t>DevOps</a:t>
            </a:r>
            <a:endParaRPr lang="es-ES_tradnl" sz="1905" dirty="0">
              <a:solidFill>
                <a:schemeClr val="accent2"/>
              </a:solidFill>
            </a:endParaRP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73" y="5086350"/>
            <a:ext cx="4410075" cy="177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2553044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o 10"/>
          <p:cNvGrpSpPr/>
          <p:nvPr/>
        </p:nvGrpSpPr>
        <p:grpSpPr>
          <a:xfrm>
            <a:off x="1496289" y="1655572"/>
            <a:ext cx="2510329" cy="2592464"/>
            <a:chOff x="3172466" y="3894191"/>
            <a:chExt cx="2510329" cy="2592464"/>
          </a:xfrm>
        </p:grpSpPr>
        <p:grpSp>
          <p:nvGrpSpPr>
            <p:cNvPr id="12" name="Grupo 11"/>
            <p:cNvGrpSpPr>
              <a:grpSpLocks noChangeAspect="1"/>
            </p:cNvGrpSpPr>
            <p:nvPr/>
          </p:nvGrpSpPr>
          <p:grpSpPr>
            <a:xfrm>
              <a:off x="3172466" y="3894191"/>
              <a:ext cx="2510329" cy="2592464"/>
              <a:chOff x="1840812" y="4968388"/>
              <a:chExt cx="1825694" cy="1885428"/>
            </a:xfrm>
          </p:grpSpPr>
          <p:sp>
            <p:nvSpPr>
              <p:cNvPr id="14" name="Trapecio 5"/>
              <p:cNvSpPr/>
              <p:nvPr/>
            </p:nvSpPr>
            <p:spPr>
              <a:xfrm rot="5400000">
                <a:off x="2266592" y="5453902"/>
                <a:ext cx="1885427" cy="914401"/>
              </a:xfrm>
              <a:custGeom>
                <a:avLst/>
                <a:gdLst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562479 w 1885427"/>
                  <a:gd name="connsiteY2" fmla="*/ 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440559 w 1885427"/>
                  <a:gd name="connsiteY2" fmla="*/ 16764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501519 w 1885427"/>
                  <a:gd name="connsiteY2" fmla="*/ 15240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5427" h="914401">
                    <a:moveTo>
                      <a:pt x="0" y="914401"/>
                    </a:moveTo>
                    <a:lnTo>
                      <a:pt x="322948" y="0"/>
                    </a:lnTo>
                    <a:lnTo>
                      <a:pt x="1501519" y="152400"/>
                    </a:lnTo>
                    <a:lnTo>
                      <a:pt x="1885427" y="914401"/>
                    </a:lnTo>
                    <a:lnTo>
                      <a:pt x="0" y="914401"/>
                    </a:lnTo>
                    <a:close/>
                  </a:path>
                </a:pathLst>
              </a:custGeom>
              <a:solidFill>
                <a:srgbClr val="357F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 dirty="0"/>
              </a:p>
            </p:txBody>
          </p:sp>
          <p:sp>
            <p:nvSpPr>
              <p:cNvPr id="18" name="Trapecio 5"/>
              <p:cNvSpPr/>
              <p:nvPr/>
            </p:nvSpPr>
            <p:spPr>
              <a:xfrm rot="16200000" flipH="1">
                <a:off x="1355299" y="5453901"/>
                <a:ext cx="1885427" cy="914401"/>
              </a:xfrm>
              <a:custGeom>
                <a:avLst/>
                <a:gdLst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562479 w 1885427"/>
                  <a:gd name="connsiteY2" fmla="*/ 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440559 w 1885427"/>
                  <a:gd name="connsiteY2" fmla="*/ 16764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501519 w 1885427"/>
                  <a:gd name="connsiteY2" fmla="*/ 15240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5427" h="914401">
                    <a:moveTo>
                      <a:pt x="0" y="914401"/>
                    </a:moveTo>
                    <a:lnTo>
                      <a:pt x="322948" y="0"/>
                    </a:lnTo>
                    <a:lnTo>
                      <a:pt x="1501519" y="152400"/>
                    </a:lnTo>
                    <a:lnTo>
                      <a:pt x="1885427" y="914401"/>
                    </a:lnTo>
                    <a:lnTo>
                      <a:pt x="0" y="914401"/>
                    </a:lnTo>
                    <a:close/>
                  </a:path>
                </a:pathLst>
              </a:custGeom>
              <a:solidFill>
                <a:srgbClr val="4A8F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 dirty="0"/>
              </a:p>
            </p:txBody>
          </p:sp>
        </p:grpSp>
        <p:sp>
          <p:nvSpPr>
            <p:cNvPr id="13" name="CuadroTexto 12"/>
            <p:cNvSpPr txBox="1"/>
            <p:nvPr/>
          </p:nvSpPr>
          <p:spPr>
            <a:xfrm>
              <a:off x="3292195" y="4619562"/>
              <a:ext cx="2275145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altLang="es-ES" sz="2400" b="1" i="1" dirty="0" smtClean="0">
                  <a:solidFill>
                    <a:schemeClr val="bg1"/>
                  </a:solidFill>
                </a:rPr>
                <a:t>Configuración de infraestructura</a:t>
              </a:r>
              <a:endParaRPr lang="es-ES" altLang="es-ES" sz="2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Marcador de texto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PE" dirty="0" smtClean="0"/>
              <a:t>Gestión de la configuración</a:t>
            </a:r>
            <a:endParaRPr lang="es-PE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1"/>
          </p:nvPr>
        </p:nvSpPr>
        <p:spPr>
          <a:xfrm>
            <a:off x="884238" y="744538"/>
            <a:ext cx="8568123" cy="452437"/>
          </a:xfrm>
        </p:spPr>
        <p:txBody>
          <a:bodyPr/>
          <a:lstStyle/>
          <a:p>
            <a:r>
              <a:rPr lang="es-PE" dirty="0" smtClean="0"/>
              <a:t>Prácticas de desarrollo de software fundamentales para implantar DevOps</a:t>
            </a:r>
            <a:endParaRPr lang="en-US" dirty="0"/>
          </a:p>
        </p:txBody>
      </p:sp>
      <p:sp>
        <p:nvSpPr>
          <p:cNvPr id="26" name="24 Rectángulo"/>
          <p:cNvSpPr>
            <a:spLocks noChangeArrowheads="1"/>
          </p:cNvSpPr>
          <p:nvPr/>
        </p:nvSpPr>
        <p:spPr bwMode="auto">
          <a:xfrm>
            <a:off x="4199124" y="1555798"/>
            <a:ext cx="7221330" cy="1117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182562" lvl="1" indent="0" algn="just" eaLnBrk="1" hangingPunct="1">
              <a:lnSpc>
                <a:spcPct val="90000"/>
              </a:lnSpc>
              <a:buClr>
                <a:srgbClr val="FF0000"/>
              </a:buClr>
            </a:pPr>
            <a:r>
              <a:rPr lang="es-ES" altLang="es-ES" sz="2000" b="1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nfiguración de la infraestructura</a:t>
            </a:r>
          </a:p>
          <a:p>
            <a:pPr marL="468312" lvl="1" algn="just" eaLnBrk="1" hangingPunct="1">
              <a:lnSpc>
                <a:spcPct val="9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s-ES" altLang="es-ES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Homologación de ambientes</a:t>
            </a:r>
          </a:p>
          <a:p>
            <a:pPr marL="468312" lvl="1" algn="just" eaLnBrk="1" hangingPunct="1">
              <a:lnSpc>
                <a:spcPct val="9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s-ES" altLang="es-ES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fraestructura como código</a:t>
            </a:r>
          </a:p>
          <a:p>
            <a:pPr marL="182562" lvl="1" indent="0" algn="just" eaLnBrk="1" hangingPunct="1">
              <a:lnSpc>
                <a:spcPct val="90000"/>
              </a:lnSpc>
              <a:buClr>
                <a:srgbClr val="FF0000"/>
              </a:buClr>
            </a:pPr>
            <a:endParaRPr lang="es-ES" altLang="es-ES" dirty="0" smtClean="0">
              <a:solidFill>
                <a:srgbClr val="4454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9" name="Imagen 1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3385" y="3682753"/>
            <a:ext cx="1572725" cy="1800000"/>
          </a:xfrm>
          <a:prstGeom prst="rect">
            <a:avLst/>
          </a:prstGeom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  <p:pic>
        <p:nvPicPr>
          <p:cNvPr id="20" name="Imagen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0331" y="3682753"/>
            <a:ext cx="1572725" cy="1800000"/>
          </a:xfrm>
          <a:prstGeom prst="rect">
            <a:avLst/>
          </a:prstGeom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  <p:pic>
        <p:nvPicPr>
          <p:cNvPr id="21" name="Imagen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97277" y="3682753"/>
            <a:ext cx="1572725" cy="1800000"/>
          </a:xfrm>
          <a:prstGeom prst="rect">
            <a:avLst/>
          </a:prstGeom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  <p:sp>
        <p:nvSpPr>
          <p:cNvPr id="22" name="24 Rectángulo"/>
          <p:cNvSpPr>
            <a:spLocks noChangeArrowheads="1"/>
          </p:cNvSpPr>
          <p:nvPr/>
        </p:nvSpPr>
        <p:spPr bwMode="auto">
          <a:xfrm>
            <a:off x="4540474" y="5719944"/>
            <a:ext cx="1978545" cy="618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182562" lvl="1" indent="0" algn="just" eaLnBrk="1" hangingPunct="1">
              <a:lnSpc>
                <a:spcPct val="90000"/>
              </a:lnSpc>
              <a:buClr>
                <a:srgbClr val="FF0000"/>
              </a:buClr>
            </a:pPr>
            <a:r>
              <a:rPr lang="es-ES" altLang="es-ES" sz="2000" b="1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esarrollo</a:t>
            </a:r>
            <a:endParaRPr lang="es-ES" altLang="es-ES" dirty="0" smtClean="0">
              <a:solidFill>
                <a:srgbClr val="4454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82562" lvl="1" indent="0" algn="just" eaLnBrk="1" hangingPunct="1">
              <a:lnSpc>
                <a:spcPct val="90000"/>
              </a:lnSpc>
              <a:buClr>
                <a:srgbClr val="FF0000"/>
              </a:buClr>
            </a:pPr>
            <a:endParaRPr lang="es-ES" altLang="es-ES" dirty="0" smtClean="0">
              <a:solidFill>
                <a:srgbClr val="4454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24 Rectángulo"/>
          <p:cNvSpPr>
            <a:spLocks noChangeArrowheads="1"/>
          </p:cNvSpPr>
          <p:nvPr/>
        </p:nvSpPr>
        <p:spPr bwMode="auto">
          <a:xfrm>
            <a:off x="7611164" y="5717960"/>
            <a:ext cx="987489" cy="618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182562" lvl="1" indent="0" algn="just" eaLnBrk="1" hangingPunct="1">
              <a:lnSpc>
                <a:spcPct val="90000"/>
              </a:lnSpc>
              <a:buClr>
                <a:srgbClr val="FF0000"/>
              </a:buClr>
            </a:pPr>
            <a:r>
              <a:rPr lang="es-ES" altLang="es-ES" sz="2000" b="1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QA</a:t>
            </a:r>
            <a:endParaRPr lang="es-ES" altLang="es-ES" dirty="0" smtClean="0">
              <a:solidFill>
                <a:srgbClr val="4454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82562" lvl="1" indent="0" algn="just" eaLnBrk="1" hangingPunct="1">
              <a:lnSpc>
                <a:spcPct val="90000"/>
              </a:lnSpc>
              <a:buClr>
                <a:srgbClr val="FF0000"/>
              </a:buClr>
            </a:pPr>
            <a:endParaRPr lang="es-ES" altLang="es-ES" dirty="0" smtClean="0">
              <a:solidFill>
                <a:srgbClr val="4454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24 Rectángulo"/>
          <p:cNvSpPr>
            <a:spLocks noChangeArrowheads="1"/>
          </p:cNvSpPr>
          <p:nvPr/>
        </p:nvSpPr>
        <p:spPr bwMode="auto">
          <a:xfrm>
            <a:off x="9703090" y="5719944"/>
            <a:ext cx="1978545" cy="618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182562" lvl="1" indent="0" algn="just" eaLnBrk="1" hangingPunct="1">
              <a:lnSpc>
                <a:spcPct val="90000"/>
              </a:lnSpc>
              <a:buClr>
                <a:srgbClr val="FF0000"/>
              </a:buClr>
            </a:pPr>
            <a:r>
              <a:rPr lang="es-ES" altLang="es-ES" sz="2000" b="1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roducción</a:t>
            </a:r>
            <a:endParaRPr lang="es-ES" altLang="es-ES" dirty="0" smtClean="0">
              <a:solidFill>
                <a:srgbClr val="4454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82562" lvl="1" indent="0" algn="just" eaLnBrk="1" hangingPunct="1">
              <a:lnSpc>
                <a:spcPct val="90000"/>
              </a:lnSpc>
              <a:buClr>
                <a:srgbClr val="FF0000"/>
              </a:buClr>
            </a:pPr>
            <a:endParaRPr lang="es-ES" altLang="es-ES" dirty="0" smtClean="0">
              <a:solidFill>
                <a:srgbClr val="4454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18357" y="16603"/>
            <a:ext cx="2205038" cy="885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0745785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upo 15"/>
          <p:cNvGrpSpPr/>
          <p:nvPr/>
        </p:nvGrpSpPr>
        <p:grpSpPr>
          <a:xfrm>
            <a:off x="1498426" y="1655570"/>
            <a:ext cx="2510329" cy="2592464"/>
            <a:chOff x="6523155" y="3894191"/>
            <a:chExt cx="2510329" cy="2592464"/>
          </a:xfrm>
        </p:grpSpPr>
        <p:grpSp>
          <p:nvGrpSpPr>
            <p:cNvPr id="17" name="Grupo 16"/>
            <p:cNvGrpSpPr>
              <a:grpSpLocks noChangeAspect="1"/>
            </p:cNvGrpSpPr>
            <p:nvPr/>
          </p:nvGrpSpPr>
          <p:grpSpPr>
            <a:xfrm>
              <a:off x="6523155" y="3894191"/>
              <a:ext cx="2510329" cy="2592464"/>
              <a:chOff x="1840812" y="4968388"/>
              <a:chExt cx="1825694" cy="1885428"/>
            </a:xfrm>
            <a:solidFill>
              <a:srgbClr val="FFC000"/>
            </a:solidFill>
          </p:grpSpPr>
          <p:sp>
            <p:nvSpPr>
              <p:cNvPr id="27" name="Trapecio 5"/>
              <p:cNvSpPr/>
              <p:nvPr/>
            </p:nvSpPr>
            <p:spPr>
              <a:xfrm rot="5400000">
                <a:off x="2266592" y="5453902"/>
                <a:ext cx="1885427" cy="914401"/>
              </a:xfrm>
              <a:custGeom>
                <a:avLst/>
                <a:gdLst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562479 w 1885427"/>
                  <a:gd name="connsiteY2" fmla="*/ 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440559 w 1885427"/>
                  <a:gd name="connsiteY2" fmla="*/ 16764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501519 w 1885427"/>
                  <a:gd name="connsiteY2" fmla="*/ 15240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5427" h="914401">
                    <a:moveTo>
                      <a:pt x="0" y="914401"/>
                    </a:moveTo>
                    <a:lnTo>
                      <a:pt x="322948" y="0"/>
                    </a:lnTo>
                    <a:lnTo>
                      <a:pt x="1501519" y="152400"/>
                    </a:lnTo>
                    <a:lnTo>
                      <a:pt x="1885427" y="914401"/>
                    </a:lnTo>
                    <a:lnTo>
                      <a:pt x="0" y="91440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 dirty="0"/>
              </a:p>
            </p:txBody>
          </p:sp>
          <p:sp>
            <p:nvSpPr>
              <p:cNvPr id="28" name="Trapecio 5"/>
              <p:cNvSpPr/>
              <p:nvPr/>
            </p:nvSpPr>
            <p:spPr>
              <a:xfrm rot="16200000" flipH="1">
                <a:off x="1355299" y="5453901"/>
                <a:ext cx="1885427" cy="914401"/>
              </a:xfrm>
              <a:custGeom>
                <a:avLst/>
                <a:gdLst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562479 w 1885427"/>
                  <a:gd name="connsiteY2" fmla="*/ 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440559 w 1885427"/>
                  <a:gd name="connsiteY2" fmla="*/ 16764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501519 w 1885427"/>
                  <a:gd name="connsiteY2" fmla="*/ 15240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5427" h="914401">
                    <a:moveTo>
                      <a:pt x="0" y="914401"/>
                    </a:moveTo>
                    <a:lnTo>
                      <a:pt x="322948" y="0"/>
                    </a:lnTo>
                    <a:lnTo>
                      <a:pt x="1501519" y="152400"/>
                    </a:lnTo>
                    <a:lnTo>
                      <a:pt x="1885427" y="914401"/>
                    </a:lnTo>
                    <a:lnTo>
                      <a:pt x="0" y="914401"/>
                    </a:lnTo>
                    <a:close/>
                  </a:path>
                </a:pathLst>
              </a:custGeom>
              <a:solidFill>
                <a:srgbClr val="FFCC2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 dirty="0"/>
              </a:p>
            </p:txBody>
          </p:sp>
        </p:grpSp>
        <p:sp>
          <p:nvSpPr>
            <p:cNvPr id="25" name="CuadroTexto 24"/>
            <p:cNvSpPr txBox="1"/>
            <p:nvPr/>
          </p:nvSpPr>
          <p:spPr>
            <a:xfrm>
              <a:off x="6642883" y="4619561"/>
              <a:ext cx="227514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altLang="es-ES" sz="2400" b="1" i="1" dirty="0" smtClean="0">
                  <a:solidFill>
                    <a:schemeClr val="bg1"/>
                  </a:solidFill>
                </a:rPr>
                <a:t>Configuración de aplicaciones</a:t>
              </a:r>
              <a:endParaRPr lang="es-ES" altLang="es-ES" sz="2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Marcador de texto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PE" dirty="0" smtClean="0"/>
              <a:t>Gestión de la configuración</a:t>
            </a:r>
            <a:endParaRPr lang="es-PE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1"/>
          </p:nvPr>
        </p:nvSpPr>
        <p:spPr>
          <a:xfrm>
            <a:off x="884238" y="744538"/>
            <a:ext cx="8568123" cy="452437"/>
          </a:xfrm>
        </p:spPr>
        <p:txBody>
          <a:bodyPr/>
          <a:lstStyle/>
          <a:p>
            <a:r>
              <a:rPr lang="es-PE" dirty="0" smtClean="0"/>
              <a:t>Prácticas de desarrollo de software fundamentales para implantar DevOps</a:t>
            </a:r>
            <a:endParaRPr lang="en-US" dirty="0"/>
          </a:p>
        </p:txBody>
      </p:sp>
      <p:sp>
        <p:nvSpPr>
          <p:cNvPr id="26" name="24 Rectángulo"/>
          <p:cNvSpPr>
            <a:spLocks noChangeArrowheads="1"/>
          </p:cNvSpPr>
          <p:nvPr/>
        </p:nvSpPr>
        <p:spPr bwMode="auto">
          <a:xfrm>
            <a:off x="4199124" y="1555798"/>
            <a:ext cx="7221330" cy="1117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182562" lvl="1" indent="0" algn="just" eaLnBrk="1" hangingPunct="1">
              <a:lnSpc>
                <a:spcPct val="90000"/>
              </a:lnSpc>
              <a:buClr>
                <a:srgbClr val="FF0000"/>
              </a:buClr>
            </a:pPr>
            <a:r>
              <a:rPr lang="es-ES" altLang="es-ES" sz="2000" b="1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nfiguración de aplicaciones</a:t>
            </a:r>
          </a:p>
          <a:p>
            <a:pPr marL="468312" lvl="1" algn="just" eaLnBrk="1" hangingPunct="1">
              <a:lnSpc>
                <a:spcPct val="9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s-ES" altLang="es-ES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nfig</a:t>
            </a:r>
            <a:r>
              <a:rPr lang="es-ES" altLang="es-ES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server</a:t>
            </a:r>
          </a:p>
          <a:p>
            <a:pPr marL="468312" lvl="1" algn="just" eaLnBrk="1" hangingPunct="1">
              <a:lnSpc>
                <a:spcPct val="9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s-ES" altLang="es-ES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estión de secretos</a:t>
            </a:r>
          </a:p>
          <a:p>
            <a:pPr marL="182562" lvl="1" indent="0" algn="just" eaLnBrk="1" hangingPunct="1">
              <a:lnSpc>
                <a:spcPct val="90000"/>
              </a:lnSpc>
              <a:buClr>
                <a:srgbClr val="FF0000"/>
              </a:buClr>
            </a:pPr>
            <a:endParaRPr lang="es-ES" altLang="es-ES" dirty="0" smtClean="0">
              <a:solidFill>
                <a:srgbClr val="4454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242" name="Picture 2" descr="Resultado de imagen para config serve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1784" y="2951801"/>
            <a:ext cx="5264727" cy="3359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18357" y="16603"/>
            <a:ext cx="2205038" cy="885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4570302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PE" dirty="0" smtClean="0"/>
              <a:t>Integración continua</a:t>
            </a:r>
            <a:endParaRPr lang="es-PE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1"/>
          </p:nvPr>
        </p:nvSpPr>
        <p:spPr>
          <a:xfrm>
            <a:off x="884238" y="744538"/>
            <a:ext cx="8568123" cy="452437"/>
          </a:xfrm>
        </p:spPr>
        <p:txBody>
          <a:bodyPr/>
          <a:lstStyle/>
          <a:p>
            <a:r>
              <a:rPr lang="es-PE" dirty="0" smtClean="0"/>
              <a:t>Flujo de integración continua</a:t>
            </a:r>
            <a:endParaRPr lang="en-US" dirty="0"/>
          </a:p>
        </p:txBody>
      </p:sp>
      <p:cxnSp>
        <p:nvCxnSpPr>
          <p:cNvPr id="21" name="Curved Connector 27"/>
          <p:cNvCxnSpPr>
            <a:cxnSpLocks noChangeShapeType="1"/>
            <a:stCxn id="26" idx="3"/>
          </p:cNvCxnSpPr>
          <p:nvPr/>
        </p:nvCxnSpPr>
        <p:spPr bwMode="auto">
          <a:xfrm>
            <a:off x="2646237" y="3389066"/>
            <a:ext cx="1195665" cy="626050"/>
          </a:xfrm>
          <a:prstGeom prst="curvedConnector2">
            <a:avLst/>
          </a:prstGeom>
          <a:noFill/>
          <a:ln w="12700" algn="ctr">
            <a:solidFill>
              <a:srgbClr val="2F5597"/>
            </a:solidFill>
            <a:prstDash val="sysDot"/>
            <a:miter lim="800000"/>
            <a:headEnd type="triangle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2" name="Curved Connector 28"/>
          <p:cNvCxnSpPr>
            <a:cxnSpLocks noChangeShapeType="1"/>
            <a:stCxn id="32" idx="3"/>
          </p:cNvCxnSpPr>
          <p:nvPr/>
        </p:nvCxnSpPr>
        <p:spPr bwMode="auto">
          <a:xfrm flipV="1">
            <a:off x="2646237" y="4749543"/>
            <a:ext cx="1195665" cy="567201"/>
          </a:xfrm>
          <a:prstGeom prst="curvedConnector2">
            <a:avLst/>
          </a:prstGeom>
          <a:noFill/>
          <a:ln w="12700" algn="ctr">
            <a:solidFill>
              <a:srgbClr val="2F5597"/>
            </a:solidFill>
            <a:prstDash val="sysDot"/>
            <a:miter lim="800000"/>
            <a:headEnd type="stealth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3" name="Straight Arrow Connector 29"/>
          <p:cNvCxnSpPr>
            <a:cxnSpLocks noChangeShapeType="1"/>
            <a:stCxn id="29" idx="3"/>
          </p:cNvCxnSpPr>
          <p:nvPr/>
        </p:nvCxnSpPr>
        <p:spPr bwMode="auto">
          <a:xfrm>
            <a:off x="2646238" y="4373315"/>
            <a:ext cx="810609" cy="9014"/>
          </a:xfrm>
          <a:prstGeom prst="straightConnector1">
            <a:avLst/>
          </a:prstGeom>
          <a:noFill/>
          <a:ln w="12700" algn="ctr">
            <a:solidFill>
              <a:srgbClr val="2F5597"/>
            </a:solidFill>
            <a:prstDash val="sysDot"/>
            <a:miter lim="800000"/>
            <a:headEnd type="triangle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24" name="Grupo 23"/>
          <p:cNvGrpSpPr/>
          <p:nvPr/>
        </p:nvGrpSpPr>
        <p:grpSpPr>
          <a:xfrm>
            <a:off x="1664177" y="2865033"/>
            <a:ext cx="1301295" cy="758377"/>
            <a:chOff x="336097" y="2579999"/>
            <a:chExt cx="1366360" cy="796296"/>
          </a:xfrm>
        </p:grpSpPr>
        <p:sp>
          <p:nvSpPr>
            <p:cNvPr id="25" name="TextBox 16"/>
            <p:cNvSpPr txBox="1"/>
            <p:nvPr/>
          </p:nvSpPr>
          <p:spPr>
            <a:xfrm>
              <a:off x="336097" y="2579999"/>
              <a:ext cx="1366360" cy="364707"/>
            </a:xfrm>
            <a:prstGeom prst="rect">
              <a:avLst/>
            </a:prstGeom>
            <a:noFill/>
          </p:spPr>
          <p:txBody>
            <a:bodyPr wrap="square" lIns="169813" tIns="84905" rIns="169813" bIns="84905">
              <a:spAutoFit/>
            </a:bodyPr>
            <a:lstStyle/>
            <a:p>
              <a:pPr algn="ctr" defTabSz="1698205">
                <a:defRPr/>
              </a:pPr>
              <a:r>
                <a:rPr lang="en-US" sz="1143" kern="0" dirty="0" err="1">
                  <a:solidFill>
                    <a:srgbClr val="4472C4">
                      <a:lumMod val="75000"/>
                    </a:srgbClr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Desarrollador</a:t>
              </a:r>
              <a:endParaRPr lang="en-US" sz="1143" kern="0" dirty="0">
                <a:solidFill>
                  <a:srgbClr val="4472C4">
                    <a:lumMod val="75000"/>
                  </a:srgbClr>
                </a:solidFill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26" name="Picture 32" descr="http://www.vonglitschka.com/images/officeicons.jpg"/>
            <p:cNvPicPr>
              <a:picLocks noChangeAspect="1" noChangeArrowheads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5858" y="2884171"/>
              <a:ext cx="681403" cy="492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7" name="Grupo 26"/>
          <p:cNvGrpSpPr/>
          <p:nvPr/>
        </p:nvGrpSpPr>
        <p:grpSpPr>
          <a:xfrm>
            <a:off x="1664177" y="3865914"/>
            <a:ext cx="1301295" cy="741746"/>
            <a:chOff x="336097" y="3630924"/>
            <a:chExt cx="1366360" cy="778833"/>
          </a:xfrm>
        </p:grpSpPr>
        <p:sp>
          <p:nvSpPr>
            <p:cNvPr id="28" name="TextBox 17"/>
            <p:cNvSpPr txBox="1"/>
            <p:nvPr/>
          </p:nvSpPr>
          <p:spPr>
            <a:xfrm>
              <a:off x="336097" y="3630924"/>
              <a:ext cx="1366360" cy="364707"/>
            </a:xfrm>
            <a:prstGeom prst="rect">
              <a:avLst/>
            </a:prstGeom>
            <a:noFill/>
          </p:spPr>
          <p:txBody>
            <a:bodyPr wrap="square" lIns="169813" tIns="84905" rIns="169813" bIns="84905">
              <a:spAutoFit/>
            </a:bodyPr>
            <a:lstStyle/>
            <a:p>
              <a:pPr algn="ctr" defTabSz="1698205">
                <a:defRPr/>
              </a:pPr>
              <a:r>
                <a:rPr lang="en-US" sz="1143" kern="0" dirty="0" err="1">
                  <a:solidFill>
                    <a:srgbClr val="4472C4">
                      <a:lumMod val="75000"/>
                    </a:srgbClr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Desarrollador</a:t>
              </a:r>
              <a:endParaRPr lang="en-US" sz="1143" kern="0" dirty="0">
                <a:solidFill>
                  <a:srgbClr val="4472C4">
                    <a:lumMod val="75000"/>
                  </a:srgbClr>
                </a:solidFill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29" name="Picture 33" descr="http://www.vonglitschka.com/images/officeicons.jpg"/>
            <p:cNvPicPr>
              <a:picLocks noChangeAspect="1" noChangeArrowheads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5858" y="3917632"/>
              <a:ext cx="681403" cy="492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0" name="Grupo 29"/>
          <p:cNvGrpSpPr/>
          <p:nvPr/>
        </p:nvGrpSpPr>
        <p:grpSpPr>
          <a:xfrm>
            <a:off x="1664176" y="4801783"/>
            <a:ext cx="1344084" cy="749306"/>
            <a:chOff x="336097" y="4613586"/>
            <a:chExt cx="1411288" cy="786771"/>
          </a:xfrm>
        </p:grpSpPr>
        <p:sp>
          <p:nvSpPr>
            <p:cNvPr id="31" name="TextBox 18"/>
            <p:cNvSpPr txBox="1"/>
            <p:nvPr/>
          </p:nvSpPr>
          <p:spPr>
            <a:xfrm>
              <a:off x="336097" y="4613586"/>
              <a:ext cx="1411288" cy="365125"/>
            </a:xfrm>
            <a:prstGeom prst="rect">
              <a:avLst/>
            </a:prstGeom>
            <a:noFill/>
          </p:spPr>
          <p:txBody>
            <a:bodyPr lIns="169813" tIns="84905" rIns="169813" bIns="84905">
              <a:spAutoFit/>
            </a:bodyPr>
            <a:lstStyle/>
            <a:p>
              <a:pPr algn="ctr" defTabSz="1698205">
                <a:defRPr/>
              </a:pPr>
              <a:r>
                <a:rPr lang="en-US" sz="1143" kern="0" dirty="0" err="1">
                  <a:solidFill>
                    <a:srgbClr val="4472C4">
                      <a:lumMod val="75000"/>
                    </a:srgbClr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Desarrollador</a:t>
              </a:r>
              <a:endParaRPr lang="en-US" sz="1143" kern="0" dirty="0">
                <a:solidFill>
                  <a:srgbClr val="4472C4">
                    <a:lumMod val="75000"/>
                  </a:srgbClr>
                </a:solidFill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32" name="Picture 34" descr="http://www.vonglitschka.com/images/officeicons.jpg"/>
            <p:cNvPicPr>
              <a:picLocks noChangeAspect="1" noChangeArrowheads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5858" y="4908232"/>
              <a:ext cx="681403" cy="492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3" name="TextBox 36"/>
          <p:cNvSpPr txBox="1"/>
          <p:nvPr/>
        </p:nvSpPr>
        <p:spPr>
          <a:xfrm>
            <a:off x="3337989" y="3292940"/>
            <a:ext cx="1584476" cy="315931"/>
          </a:xfrm>
          <a:prstGeom prst="rect">
            <a:avLst/>
          </a:prstGeom>
          <a:solidFill>
            <a:sysClr val="window" lastClr="FFFFFF">
              <a:lumMod val="95000"/>
              <a:alpha val="24000"/>
            </a:sysClr>
          </a:solidFill>
        </p:spPr>
        <p:txBody>
          <a:bodyPr lIns="169813" tIns="84905" rIns="169813" bIns="84905">
            <a:spAutoFit/>
          </a:bodyPr>
          <a:lstStyle>
            <a:defPPr>
              <a:defRPr lang="en-US"/>
            </a:defPPr>
            <a:lvl1pPr algn="ctr">
              <a:defRPr sz="800" b="1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1698205">
              <a:lnSpc>
                <a:spcPts val="1114"/>
              </a:lnSpc>
              <a:defRPr/>
            </a:pPr>
            <a:r>
              <a:rPr lang="en-US" sz="1143" b="0" kern="0" dirty="0" err="1" smtClean="0">
                <a:solidFill>
                  <a:srgbClr val="4472C4">
                    <a:lumMod val="75000"/>
                  </a:srgbClr>
                </a:solidFill>
                <a:latin typeface="+mn-lt"/>
              </a:rPr>
              <a:t>Repositorio</a:t>
            </a:r>
            <a:endParaRPr lang="en-US" sz="1143" b="0" kern="0" dirty="0">
              <a:solidFill>
                <a:srgbClr val="4472C4">
                  <a:lumMod val="75000"/>
                </a:srgbClr>
              </a:solidFill>
              <a:latin typeface="+mn-lt"/>
            </a:endParaRPr>
          </a:p>
        </p:txBody>
      </p:sp>
      <p:pic>
        <p:nvPicPr>
          <p:cNvPr id="34" name="Picture 6" descr="Resultado de imagen para cloud 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0951" y="3999507"/>
            <a:ext cx="1067406" cy="784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5" name="Diagrama 34"/>
          <p:cNvGraphicFramePr/>
          <p:nvPr>
            <p:extLst>
              <p:ext uri="{D42A27DB-BD31-4B8C-83A1-F6EECF244321}">
                <p14:modId xmlns:p14="http://schemas.microsoft.com/office/powerpoint/2010/main" val="708962359"/>
              </p:ext>
            </p:extLst>
          </p:nvPr>
        </p:nvGraphicFramePr>
        <p:xfrm>
          <a:off x="6011428" y="2216843"/>
          <a:ext cx="3727512" cy="39009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cxnSp>
        <p:nvCxnSpPr>
          <p:cNvPr id="36" name="Straight Arrow Connector 29"/>
          <p:cNvCxnSpPr>
            <a:cxnSpLocks noChangeShapeType="1"/>
            <a:stCxn id="34" idx="3"/>
          </p:cNvCxnSpPr>
          <p:nvPr/>
        </p:nvCxnSpPr>
        <p:spPr bwMode="auto">
          <a:xfrm>
            <a:off x="4638358" y="4391982"/>
            <a:ext cx="350130" cy="1838"/>
          </a:xfrm>
          <a:prstGeom prst="straightConnector1">
            <a:avLst/>
          </a:prstGeom>
          <a:noFill/>
          <a:ln w="12700" algn="ctr">
            <a:solidFill>
              <a:srgbClr val="2F5597"/>
            </a:solidFill>
            <a:prstDash val="sysDot"/>
            <a:miter lim="800000"/>
            <a:headEnd type="none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7" name="TextBox 36"/>
          <p:cNvSpPr txBox="1"/>
          <p:nvPr/>
        </p:nvSpPr>
        <p:spPr>
          <a:xfrm>
            <a:off x="4148921" y="2692684"/>
            <a:ext cx="1864098" cy="312533"/>
          </a:xfrm>
          <a:prstGeom prst="rect">
            <a:avLst/>
          </a:prstGeom>
          <a:solidFill>
            <a:sysClr val="window" lastClr="FFFFFF">
              <a:lumMod val="95000"/>
              <a:alpha val="24000"/>
            </a:sysClr>
          </a:solidFill>
        </p:spPr>
        <p:txBody>
          <a:bodyPr wrap="square" lIns="169813" tIns="84905" rIns="169813" bIns="84905">
            <a:spAutoFit/>
          </a:bodyPr>
          <a:lstStyle>
            <a:defPPr>
              <a:defRPr lang="en-US"/>
            </a:defPPr>
            <a:lvl1pPr algn="ctr">
              <a:defRPr sz="800" b="1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1698205">
              <a:lnSpc>
                <a:spcPts val="1114"/>
              </a:lnSpc>
              <a:defRPr/>
            </a:pPr>
            <a:r>
              <a:rPr lang="en-US" sz="1714" kern="0" dirty="0">
                <a:solidFill>
                  <a:srgbClr val="4472C4">
                    <a:lumMod val="75000"/>
                  </a:srgbClr>
                </a:solidFill>
                <a:latin typeface="+mn-lt"/>
              </a:rPr>
              <a:t>Azure DevOps</a:t>
            </a:r>
          </a:p>
        </p:txBody>
      </p:sp>
      <p:sp>
        <p:nvSpPr>
          <p:cNvPr id="38" name="TextBox 36"/>
          <p:cNvSpPr txBox="1"/>
          <p:nvPr/>
        </p:nvSpPr>
        <p:spPr>
          <a:xfrm>
            <a:off x="7300937" y="1965895"/>
            <a:ext cx="1601451" cy="312533"/>
          </a:xfrm>
          <a:prstGeom prst="rect">
            <a:avLst/>
          </a:prstGeom>
          <a:solidFill>
            <a:sysClr val="window" lastClr="FFFFFF">
              <a:lumMod val="95000"/>
              <a:alpha val="24000"/>
            </a:sysClr>
          </a:solidFill>
        </p:spPr>
        <p:txBody>
          <a:bodyPr wrap="square" lIns="169813" tIns="84905" rIns="169813" bIns="84905">
            <a:spAutoFit/>
          </a:bodyPr>
          <a:lstStyle>
            <a:defPPr>
              <a:defRPr lang="en-US"/>
            </a:defPPr>
            <a:lvl1pPr algn="ctr">
              <a:defRPr sz="800" b="1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1698205">
              <a:lnSpc>
                <a:spcPts val="1114"/>
              </a:lnSpc>
              <a:defRPr/>
            </a:pPr>
            <a:r>
              <a:rPr lang="en-US" sz="1143" kern="0" dirty="0" err="1">
                <a:solidFill>
                  <a:srgbClr val="4472C4">
                    <a:lumMod val="75000"/>
                  </a:srgbClr>
                </a:solidFill>
                <a:latin typeface="+mn-lt"/>
              </a:rPr>
              <a:t>Flujo</a:t>
            </a:r>
            <a:r>
              <a:rPr lang="en-US" sz="1143" kern="0" dirty="0">
                <a:solidFill>
                  <a:srgbClr val="4472C4">
                    <a:lumMod val="75000"/>
                  </a:srgbClr>
                </a:solidFill>
                <a:latin typeface="+mn-lt"/>
              </a:rPr>
              <a:t> de </a:t>
            </a:r>
            <a:r>
              <a:rPr lang="en-US" sz="1143" kern="0" dirty="0" err="1">
                <a:solidFill>
                  <a:srgbClr val="4472C4">
                    <a:lumMod val="75000"/>
                  </a:srgbClr>
                </a:solidFill>
                <a:latin typeface="+mn-lt"/>
              </a:rPr>
              <a:t>ejecución</a:t>
            </a:r>
            <a:endParaRPr lang="en-US" sz="1143" kern="0" dirty="0">
              <a:solidFill>
                <a:srgbClr val="4472C4">
                  <a:lumMod val="75000"/>
                </a:srgbClr>
              </a:solidFill>
              <a:latin typeface="+mn-lt"/>
            </a:endParaRPr>
          </a:p>
        </p:txBody>
      </p:sp>
      <p:pic>
        <p:nvPicPr>
          <p:cNvPr id="39" name="Picture 2" descr="https://avatars.slack-edge.com/2019-01-17/528389819366_e7a0672f0480b3e98d21_512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4273" y="3831960"/>
            <a:ext cx="1114882" cy="1114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TextBox 36"/>
          <p:cNvSpPr txBox="1"/>
          <p:nvPr/>
        </p:nvSpPr>
        <p:spPr>
          <a:xfrm>
            <a:off x="4856865" y="3307479"/>
            <a:ext cx="1584476" cy="315931"/>
          </a:xfrm>
          <a:prstGeom prst="rect">
            <a:avLst/>
          </a:prstGeom>
          <a:solidFill>
            <a:sysClr val="window" lastClr="FFFFFF">
              <a:lumMod val="95000"/>
              <a:alpha val="24000"/>
            </a:sysClr>
          </a:solidFill>
        </p:spPr>
        <p:txBody>
          <a:bodyPr lIns="169813" tIns="84905" rIns="169813" bIns="84905">
            <a:spAutoFit/>
          </a:bodyPr>
          <a:lstStyle>
            <a:defPPr>
              <a:defRPr lang="en-US"/>
            </a:defPPr>
            <a:lvl1pPr algn="ctr">
              <a:defRPr sz="800" b="1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1698205">
              <a:lnSpc>
                <a:spcPts val="1114"/>
              </a:lnSpc>
              <a:defRPr/>
            </a:pPr>
            <a:r>
              <a:rPr lang="en-US" sz="1143" b="0" kern="0" dirty="0" err="1" smtClean="0">
                <a:solidFill>
                  <a:srgbClr val="4472C4">
                    <a:lumMod val="75000"/>
                  </a:srgbClr>
                </a:solidFill>
                <a:latin typeface="+mn-lt"/>
              </a:rPr>
              <a:t>Orquestador</a:t>
            </a:r>
            <a:endParaRPr lang="en-US" sz="1143" b="0" kern="0" dirty="0">
              <a:solidFill>
                <a:srgbClr val="4472C4">
                  <a:lumMod val="75000"/>
                </a:srgbClr>
              </a:solidFill>
              <a:latin typeface="+mn-lt"/>
            </a:endParaRPr>
          </a:p>
        </p:txBody>
      </p:sp>
      <p:pic>
        <p:nvPicPr>
          <p:cNvPr id="41" name="Picture 2" descr="Resultado de imagen para git 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8592" y="4249801"/>
            <a:ext cx="654419" cy="273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4" descr="Resultado de imagen para jenkins png"/>
          <p:cNvPicPr>
            <a:picLocks noChangeAspect="1" noChangeArrowheads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82"/>
          <a:stretch/>
        </p:blipFill>
        <p:spPr bwMode="auto">
          <a:xfrm>
            <a:off x="5068314" y="3833915"/>
            <a:ext cx="724606" cy="920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 Placeholder 6"/>
          <p:cNvSpPr txBox="1">
            <a:spLocks/>
          </p:cNvSpPr>
          <p:nvPr/>
        </p:nvSpPr>
        <p:spPr>
          <a:xfrm>
            <a:off x="881562" y="1206857"/>
            <a:ext cx="10626815" cy="60888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s-ES" sz="1800" dirty="0">
                <a:solidFill>
                  <a:schemeClr val="tx2"/>
                </a:solidFill>
              </a:rPr>
              <a:t>Es una práctica de desarrollo de software que promueve la frecuente integración del trabajo de los miembros de un equipo. Cada integración comprende la compilación y ejecución de pruebas automatizadas.</a:t>
            </a:r>
          </a:p>
        </p:txBody>
      </p:sp>
      <p:pic>
        <p:nvPicPr>
          <p:cNvPr id="44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18357" y="16603"/>
            <a:ext cx="2205038" cy="885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4231508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3"/>
          <p:cNvSpPr>
            <a:spLocks noGrp="1"/>
          </p:cNvSpPr>
          <p:nvPr>
            <p:ph type="body" sz="quarter" idx="10"/>
          </p:nvPr>
        </p:nvSpPr>
        <p:spPr>
          <a:xfrm>
            <a:off x="884237" y="196850"/>
            <a:ext cx="8826637" cy="547523"/>
          </a:xfrm>
        </p:spPr>
        <p:txBody>
          <a:bodyPr/>
          <a:lstStyle/>
          <a:p>
            <a:r>
              <a:rPr lang="es-PE" dirty="0"/>
              <a:t>Estrategia de aseguramiento de calidad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PE" dirty="0" smtClean="0"/>
              <a:t>Implantando un proceso de aseguramiento de calidad</a:t>
            </a:r>
            <a:endParaRPr lang="es-PE" dirty="0"/>
          </a:p>
        </p:txBody>
      </p:sp>
      <p:grpSp>
        <p:nvGrpSpPr>
          <p:cNvPr id="6" name="Grupo 1"/>
          <p:cNvGrpSpPr/>
          <p:nvPr/>
        </p:nvGrpSpPr>
        <p:grpSpPr>
          <a:xfrm>
            <a:off x="373828" y="1642835"/>
            <a:ext cx="11356687" cy="747044"/>
            <a:chOff x="4082270" y="7422972"/>
            <a:chExt cx="17231593" cy="1337284"/>
          </a:xfrm>
        </p:grpSpPr>
        <p:sp>
          <p:nvSpPr>
            <p:cNvPr id="7" name="Forma libre 26"/>
            <p:cNvSpPr/>
            <p:nvPr/>
          </p:nvSpPr>
          <p:spPr>
            <a:xfrm>
              <a:off x="4082270" y="7423894"/>
              <a:ext cx="3742216" cy="1328562"/>
            </a:xfrm>
            <a:custGeom>
              <a:avLst/>
              <a:gdLst>
                <a:gd name="connsiteX0" fmla="*/ 0 w 1256652"/>
                <a:gd name="connsiteY0" fmla="*/ 0 h 512942"/>
                <a:gd name="connsiteX1" fmla="*/ 507443 w 1256652"/>
                <a:gd name="connsiteY1" fmla="*/ 0 h 512942"/>
                <a:gd name="connsiteX2" fmla="*/ 910159 w 1256652"/>
                <a:gd name="connsiteY2" fmla="*/ 0 h 512942"/>
                <a:gd name="connsiteX3" fmla="*/ 1256652 w 1256652"/>
                <a:gd name="connsiteY3" fmla="*/ 0 h 512942"/>
                <a:gd name="connsiteX4" fmla="*/ 1256652 w 1256652"/>
                <a:gd name="connsiteY4" fmla="*/ 512942 h 512942"/>
                <a:gd name="connsiteX5" fmla="*/ 910159 w 1256652"/>
                <a:gd name="connsiteY5" fmla="*/ 512942 h 512942"/>
                <a:gd name="connsiteX6" fmla="*/ 507443 w 1256652"/>
                <a:gd name="connsiteY6" fmla="*/ 512942 h 512942"/>
                <a:gd name="connsiteX7" fmla="*/ 0 w 1256652"/>
                <a:gd name="connsiteY7" fmla="*/ 512942 h 512942"/>
                <a:gd name="connsiteX8" fmla="*/ 256471 w 1256652"/>
                <a:gd name="connsiteY8" fmla="*/ 256471 h 512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6652" h="512942">
                  <a:moveTo>
                    <a:pt x="0" y="0"/>
                  </a:moveTo>
                  <a:lnTo>
                    <a:pt x="507443" y="0"/>
                  </a:lnTo>
                  <a:lnTo>
                    <a:pt x="910159" y="0"/>
                  </a:lnTo>
                  <a:lnTo>
                    <a:pt x="1256652" y="0"/>
                  </a:lnTo>
                  <a:lnTo>
                    <a:pt x="1256652" y="512942"/>
                  </a:lnTo>
                  <a:lnTo>
                    <a:pt x="910159" y="512942"/>
                  </a:lnTo>
                  <a:lnTo>
                    <a:pt x="507443" y="512942"/>
                  </a:lnTo>
                  <a:lnTo>
                    <a:pt x="0" y="512942"/>
                  </a:lnTo>
                  <a:lnTo>
                    <a:pt x="256471" y="256471"/>
                  </a:lnTo>
                  <a:close/>
                </a:path>
              </a:pathLst>
            </a:custGeom>
            <a:solidFill>
              <a:srgbClr val="5486B8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753923">
                <a:defRPr/>
              </a:pPr>
              <a:r>
                <a:rPr lang="es-PE" kern="0" dirty="0">
                  <a:solidFill>
                    <a:prstClr val="white"/>
                  </a:solidFill>
                  <a:latin typeface="Arial" charset="0"/>
                  <a:ea typeface="Arial" charset="0"/>
                  <a:cs typeface="Arial" charset="0"/>
                </a:rPr>
                <a:t>Pruebas </a:t>
              </a:r>
              <a:endParaRPr lang="es-PE" kern="0" dirty="0" smtClean="0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 defTabSz="753923">
                <a:defRPr/>
              </a:pPr>
              <a:r>
                <a:rPr lang="es-PE" kern="0" dirty="0" smtClean="0">
                  <a:solidFill>
                    <a:prstClr val="white"/>
                  </a:solidFill>
                  <a:latin typeface="Arial" charset="0"/>
                  <a:ea typeface="Arial" charset="0"/>
                  <a:cs typeface="Arial" charset="0"/>
                </a:rPr>
                <a:t>unitarias</a:t>
              </a:r>
              <a:endParaRPr lang="es-PE" kern="0" dirty="0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" name="Forma libre 27"/>
            <p:cNvSpPr/>
            <p:nvPr/>
          </p:nvSpPr>
          <p:spPr>
            <a:xfrm>
              <a:off x="17477383" y="7422972"/>
              <a:ext cx="3836480" cy="1328332"/>
            </a:xfrm>
            <a:custGeom>
              <a:avLst/>
              <a:gdLst>
                <a:gd name="connsiteX0" fmla="*/ 0 w 1263415"/>
                <a:gd name="connsiteY0" fmla="*/ 0 h 512942"/>
                <a:gd name="connsiteX1" fmla="*/ 749209 w 1263415"/>
                <a:gd name="connsiteY1" fmla="*/ 0 h 512942"/>
                <a:gd name="connsiteX2" fmla="*/ 1006944 w 1263415"/>
                <a:gd name="connsiteY2" fmla="*/ 0 h 512942"/>
                <a:gd name="connsiteX3" fmla="*/ 1263415 w 1263415"/>
                <a:gd name="connsiteY3" fmla="*/ 256471 h 512942"/>
                <a:gd name="connsiteX4" fmla="*/ 1006944 w 1263415"/>
                <a:gd name="connsiteY4" fmla="*/ 512942 h 512942"/>
                <a:gd name="connsiteX5" fmla="*/ 749209 w 1263415"/>
                <a:gd name="connsiteY5" fmla="*/ 512942 h 512942"/>
                <a:gd name="connsiteX6" fmla="*/ 0 w 1263415"/>
                <a:gd name="connsiteY6" fmla="*/ 512942 h 512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63415" h="512942">
                  <a:moveTo>
                    <a:pt x="0" y="0"/>
                  </a:moveTo>
                  <a:lnTo>
                    <a:pt x="749209" y="0"/>
                  </a:lnTo>
                  <a:lnTo>
                    <a:pt x="1006944" y="0"/>
                  </a:lnTo>
                  <a:lnTo>
                    <a:pt x="1263415" y="256471"/>
                  </a:lnTo>
                  <a:lnTo>
                    <a:pt x="1006944" y="512942"/>
                  </a:lnTo>
                  <a:lnTo>
                    <a:pt x="749209" y="512942"/>
                  </a:lnTo>
                  <a:lnTo>
                    <a:pt x="0" y="512942"/>
                  </a:lnTo>
                  <a:close/>
                </a:path>
              </a:pathLst>
            </a:custGeom>
            <a:solidFill>
              <a:srgbClr val="1A4694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753923">
                <a:defRPr/>
              </a:pPr>
              <a:r>
                <a:rPr lang="es-PE" kern="0" dirty="0" smtClean="0">
                  <a:solidFill>
                    <a:prstClr val="white"/>
                  </a:solidFill>
                  <a:latin typeface="Arial" charset="0"/>
                  <a:ea typeface="Arial" charset="0"/>
                  <a:cs typeface="Arial" charset="0"/>
                </a:rPr>
                <a:t>Pruebas de </a:t>
              </a:r>
            </a:p>
            <a:p>
              <a:pPr algn="ctr" defTabSz="753923">
                <a:defRPr/>
              </a:pPr>
              <a:r>
                <a:rPr lang="es-PE" kern="0" dirty="0" smtClean="0">
                  <a:solidFill>
                    <a:prstClr val="white"/>
                  </a:solidFill>
                  <a:latin typeface="Arial" charset="0"/>
                  <a:ea typeface="Arial" charset="0"/>
                  <a:cs typeface="Arial" charset="0"/>
                </a:rPr>
                <a:t>regresión</a:t>
              </a:r>
              <a:endParaRPr lang="es-PE" kern="0" dirty="0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0" name="Rectángulo 28"/>
            <p:cNvSpPr/>
            <p:nvPr/>
          </p:nvSpPr>
          <p:spPr>
            <a:xfrm>
              <a:off x="7824487" y="7423896"/>
              <a:ext cx="3400638" cy="1328562"/>
            </a:xfrm>
            <a:prstGeom prst="rect">
              <a:avLst/>
            </a:prstGeom>
            <a:solidFill>
              <a:srgbClr val="5486B8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753923">
                <a:defRPr/>
              </a:pPr>
              <a:r>
                <a:rPr lang="es-PE" kern="0" dirty="0" smtClean="0">
                  <a:solidFill>
                    <a:prstClr val="white"/>
                  </a:solidFill>
                  <a:latin typeface="Arial" charset="0"/>
                  <a:ea typeface="Arial" charset="0"/>
                  <a:cs typeface="Arial" charset="0"/>
                </a:rPr>
                <a:t>Pruebas de integración</a:t>
              </a:r>
              <a:endParaRPr lang="es-PE" kern="0" dirty="0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" name="Rectángulo 29"/>
            <p:cNvSpPr/>
            <p:nvPr/>
          </p:nvSpPr>
          <p:spPr>
            <a:xfrm>
              <a:off x="11225125" y="7423894"/>
              <a:ext cx="2983894" cy="1328332"/>
            </a:xfrm>
            <a:prstGeom prst="rect">
              <a:avLst/>
            </a:prstGeom>
            <a:solidFill>
              <a:srgbClr val="5486B8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753923">
                <a:defRPr/>
              </a:pPr>
              <a:r>
                <a:rPr lang="es-PE" kern="0" dirty="0" smtClean="0">
                  <a:solidFill>
                    <a:prstClr val="white"/>
                  </a:solidFill>
                  <a:latin typeface="Arial" charset="0"/>
                  <a:ea typeface="Arial" charset="0"/>
                  <a:cs typeface="Arial" charset="0"/>
                </a:rPr>
                <a:t>Pruebas de </a:t>
              </a:r>
            </a:p>
            <a:p>
              <a:pPr algn="ctr" defTabSz="753923">
                <a:defRPr/>
              </a:pPr>
              <a:r>
                <a:rPr lang="es-PE" kern="0" dirty="0" smtClean="0">
                  <a:solidFill>
                    <a:prstClr val="white"/>
                  </a:solidFill>
                  <a:latin typeface="Arial" charset="0"/>
                  <a:ea typeface="Arial" charset="0"/>
                  <a:cs typeface="Arial" charset="0"/>
                </a:rPr>
                <a:t>aceptación</a:t>
              </a:r>
              <a:endParaRPr lang="es-PE" kern="0" dirty="0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" name="Rectángulo 30"/>
            <p:cNvSpPr/>
            <p:nvPr/>
          </p:nvSpPr>
          <p:spPr>
            <a:xfrm>
              <a:off x="14209019" y="7432155"/>
              <a:ext cx="3268364" cy="1328101"/>
            </a:xfrm>
            <a:prstGeom prst="rect">
              <a:avLst/>
            </a:prstGeom>
            <a:solidFill>
              <a:srgbClr val="1A4694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753923">
                <a:defRPr/>
              </a:pPr>
              <a:r>
                <a:rPr lang="es-PE" kern="0" dirty="0" smtClean="0">
                  <a:solidFill>
                    <a:prstClr val="white"/>
                  </a:solidFill>
                  <a:latin typeface="Arial" charset="0"/>
                  <a:ea typeface="Arial" charset="0"/>
                  <a:cs typeface="Arial" charset="0"/>
                </a:rPr>
                <a:t>Pruebas de </a:t>
              </a:r>
            </a:p>
            <a:p>
              <a:pPr algn="ctr" defTabSz="753923">
                <a:defRPr/>
              </a:pPr>
              <a:r>
                <a:rPr lang="es-PE" kern="0" dirty="0" smtClean="0">
                  <a:solidFill>
                    <a:prstClr val="white"/>
                  </a:solidFill>
                  <a:latin typeface="Arial" charset="0"/>
                  <a:ea typeface="Arial" charset="0"/>
                  <a:cs typeface="Arial" charset="0"/>
                </a:rPr>
                <a:t>estrés</a:t>
              </a:r>
              <a:endParaRPr lang="es-PE" kern="0" dirty="0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15" name="CuadroTexto 31"/>
          <p:cNvSpPr txBox="1"/>
          <p:nvPr/>
        </p:nvSpPr>
        <p:spPr>
          <a:xfrm>
            <a:off x="3037132" y="4176732"/>
            <a:ext cx="19403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defRPr sz="1400">
                <a:solidFill>
                  <a:srgbClr val="425269"/>
                </a:solidFill>
                <a:latin typeface="KievitPro-Book" panose="020B0604030101020102" pitchFamily="34" charset="0"/>
              </a:defRPr>
            </a:lvl1pPr>
          </a:lstStyle>
          <a:p>
            <a:r>
              <a:rPr lang="es-PE" sz="1800" dirty="0">
                <a:latin typeface="+mn-lt"/>
                <a:ea typeface="Arial" charset="0"/>
                <a:cs typeface="Arial" charset="0"/>
              </a:rPr>
              <a:t>Pruebas de integración</a:t>
            </a:r>
          </a:p>
        </p:txBody>
      </p:sp>
      <p:sp>
        <p:nvSpPr>
          <p:cNvPr id="16" name="CuadroTexto 33"/>
          <p:cNvSpPr txBox="1"/>
          <p:nvPr/>
        </p:nvSpPr>
        <p:spPr>
          <a:xfrm>
            <a:off x="6965172" y="4175343"/>
            <a:ext cx="23090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PE"/>
            </a:defPPr>
            <a:lvl1pPr>
              <a:defRPr sz="4800">
                <a:solidFill>
                  <a:srgbClr val="425269"/>
                </a:solidFill>
                <a:latin typeface="KievitPro-Book" panose="020B0604030101020102" pitchFamily="34" charset="0"/>
              </a:defRPr>
            </a:lvl1pPr>
          </a:lstStyle>
          <a:p>
            <a:pPr algn="ctr"/>
            <a:r>
              <a:rPr lang="es-PE" sz="1800" dirty="0">
                <a:latin typeface="+mn-lt"/>
                <a:ea typeface="Arial" charset="0"/>
                <a:cs typeface="Arial" charset="0"/>
              </a:rPr>
              <a:t>Pruebas de rendimiento</a:t>
            </a:r>
          </a:p>
        </p:txBody>
      </p:sp>
      <p:cxnSp>
        <p:nvCxnSpPr>
          <p:cNvPr id="17" name="Straight Connector 7"/>
          <p:cNvCxnSpPr/>
          <p:nvPr/>
        </p:nvCxnSpPr>
        <p:spPr>
          <a:xfrm>
            <a:off x="7039234" y="2630351"/>
            <a:ext cx="23234" cy="3963591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uadroTexto 31"/>
          <p:cNvSpPr txBox="1"/>
          <p:nvPr/>
        </p:nvSpPr>
        <p:spPr>
          <a:xfrm>
            <a:off x="4927266" y="5857835"/>
            <a:ext cx="21848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PE"/>
            </a:defPPr>
            <a:lvl1pPr>
              <a:defRPr sz="4800">
                <a:solidFill>
                  <a:srgbClr val="425269"/>
                </a:solidFill>
                <a:latin typeface="KievitPro-Book" panose="020B0604030101020102" pitchFamily="34" charset="0"/>
              </a:defRPr>
            </a:lvl1pPr>
          </a:lstStyle>
          <a:p>
            <a:pPr algn="ctr"/>
            <a:r>
              <a:rPr lang="es-PE" sz="1800" dirty="0">
                <a:latin typeface="+mn-lt"/>
                <a:ea typeface="Arial" charset="0"/>
                <a:cs typeface="Arial" charset="0"/>
              </a:rPr>
              <a:t>Pruebas manuales</a:t>
            </a:r>
          </a:p>
        </p:txBody>
      </p:sp>
      <p:sp>
        <p:nvSpPr>
          <p:cNvPr id="23" name="CuadroTexto 31"/>
          <p:cNvSpPr txBox="1"/>
          <p:nvPr/>
        </p:nvSpPr>
        <p:spPr>
          <a:xfrm>
            <a:off x="725349" y="4238479"/>
            <a:ext cx="1563788" cy="10016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PE"/>
            </a:defPPr>
            <a:lvl1pPr>
              <a:defRPr sz="4800">
                <a:solidFill>
                  <a:srgbClr val="425269"/>
                </a:solidFill>
                <a:latin typeface="KievitPro-Book" panose="020B0604030101020102" pitchFamily="34" charset="0"/>
              </a:defRPr>
            </a:lvl1pPr>
          </a:lstStyle>
          <a:p>
            <a:pPr algn="ctr"/>
            <a:r>
              <a:rPr lang="es-PE" sz="1800" dirty="0">
                <a:latin typeface="+mn-lt"/>
                <a:ea typeface="Arial" charset="0"/>
                <a:cs typeface="Arial" charset="0"/>
              </a:rPr>
              <a:t>Pruebas unitarias</a:t>
            </a:r>
          </a:p>
          <a:p>
            <a:pPr marL="471202" indent="-471202" algn="ctr">
              <a:buFont typeface="Arial" panose="020B0604020202020204" pitchFamily="34" charset="0"/>
              <a:buChar char="•"/>
            </a:pPr>
            <a:endParaRPr lang="es-PE" sz="2309" dirty="0">
              <a:latin typeface="+mn-lt"/>
            </a:endParaRPr>
          </a:p>
        </p:txBody>
      </p:sp>
      <p:pic>
        <p:nvPicPr>
          <p:cNvPr id="24" name="Imagen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8611" y="2856071"/>
            <a:ext cx="1096941" cy="1096941"/>
          </a:xfrm>
          <a:prstGeom prst="rect">
            <a:avLst/>
          </a:prstGeom>
        </p:spPr>
      </p:pic>
      <p:pic>
        <p:nvPicPr>
          <p:cNvPr id="25" name="Imagen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2540" y="2901663"/>
            <a:ext cx="1155037" cy="1155037"/>
          </a:xfrm>
          <a:prstGeom prst="rect">
            <a:avLst/>
          </a:prstGeom>
        </p:spPr>
      </p:pic>
      <p:pic>
        <p:nvPicPr>
          <p:cNvPr id="26" name="Picture 6" descr="Resultado de imagen para herramienta sonar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216" y="7559579"/>
            <a:ext cx="1163124" cy="633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7" descr="C:\Users\Ocontreras\Desktop\SLIDE PPT\E.png"/>
          <p:cNvPicPr>
            <a:picLocks noChangeAspect="1" noChangeArrowheads="1"/>
          </p:cNvPicPr>
          <p:nvPr/>
        </p:nvPicPr>
        <p:blipFill>
          <a:blip r:embed="rId5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60527" y="7829886"/>
            <a:ext cx="904689" cy="362758"/>
          </a:xfrm>
          <a:prstGeom prst="rect">
            <a:avLst/>
          </a:prstGeom>
          <a:noFill/>
          <a:ln>
            <a:noFill/>
          </a:ln>
        </p:spPr>
      </p:pic>
      <p:pic>
        <p:nvPicPr>
          <p:cNvPr id="28" name="Picture 13" descr="D:\Users\Ocontreras\EFD Works\Encargos extras\VIDEO CORPORATE\PPT\GMD_TESTING\images\29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561141" y="7829887"/>
            <a:ext cx="469526" cy="379780"/>
          </a:xfrm>
          <a:prstGeom prst="rect">
            <a:avLst/>
          </a:prstGeom>
          <a:noFill/>
          <a:ln>
            <a:noFill/>
          </a:ln>
        </p:spPr>
      </p:pic>
      <p:pic>
        <p:nvPicPr>
          <p:cNvPr id="29" name="Picture 2" descr="Imagen relacionada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2359" y="8335319"/>
            <a:ext cx="3364515" cy="682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" descr="Imagen relacionada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4639" y="7628318"/>
            <a:ext cx="2853931" cy="579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Imagen 2"/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678586" y="7518178"/>
            <a:ext cx="1286575" cy="767931"/>
          </a:xfrm>
          <a:prstGeom prst="rect">
            <a:avLst/>
          </a:prstGeom>
        </p:spPr>
      </p:pic>
      <p:pic>
        <p:nvPicPr>
          <p:cNvPr id="32" name="Picture 4" descr="Resultado de imagen para selenium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2370" y="8419570"/>
            <a:ext cx="741540" cy="669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31"/>
          <p:cNvPicPr>
            <a:picLocks noChangeAspect="1"/>
          </p:cNvPicPr>
          <p:nvPr/>
        </p:nvPicPr>
        <p:blipFill>
          <a:blip r:embed="rId11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945259" y="8548099"/>
            <a:ext cx="859361" cy="374074"/>
          </a:xfrm>
          <a:prstGeom prst="rect">
            <a:avLst/>
          </a:prstGeom>
        </p:spPr>
      </p:pic>
      <p:pic>
        <p:nvPicPr>
          <p:cNvPr id="34" name="Imagen 9"/>
          <p:cNvPicPr>
            <a:picLocks noChangeAspect="1"/>
          </p:cNvPicPr>
          <p:nvPr/>
        </p:nvPicPr>
        <p:blipFill>
          <a:blip r:embed="rId1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775431" y="7051661"/>
            <a:ext cx="1460812" cy="468482"/>
          </a:xfrm>
          <a:prstGeom prst="rect">
            <a:avLst/>
          </a:prstGeom>
        </p:spPr>
      </p:pic>
      <p:pic>
        <p:nvPicPr>
          <p:cNvPr id="35" name="Picture 133"/>
          <p:cNvPicPr>
            <a:picLocks noChangeAspect="1"/>
          </p:cNvPicPr>
          <p:nvPr/>
        </p:nvPicPr>
        <p:blipFill>
          <a:blip r:embed="rId1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0406733" y="8234429"/>
            <a:ext cx="674586" cy="843231"/>
          </a:xfrm>
          <a:prstGeom prst="rect">
            <a:avLst/>
          </a:prstGeom>
        </p:spPr>
      </p:pic>
      <p:sp>
        <p:nvSpPr>
          <p:cNvPr id="36" name="CuadroTexto 33"/>
          <p:cNvSpPr txBox="1"/>
          <p:nvPr/>
        </p:nvSpPr>
        <p:spPr>
          <a:xfrm>
            <a:off x="5037793" y="4172860"/>
            <a:ext cx="20101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PE"/>
            </a:defPPr>
            <a:lvl1pPr>
              <a:defRPr sz="4800">
                <a:solidFill>
                  <a:srgbClr val="425269"/>
                </a:solidFill>
                <a:latin typeface="KievitPro-Book" panose="020B0604030101020102" pitchFamily="34" charset="0"/>
              </a:defRPr>
            </a:lvl1pPr>
          </a:lstStyle>
          <a:p>
            <a:pPr algn="ctr"/>
            <a:r>
              <a:rPr lang="es-PE" sz="1800" dirty="0" smtClean="0">
                <a:latin typeface="+mn-lt"/>
                <a:ea typeface="Arial" charset="0"/>
                <a:cs typeface="Arial" charset="0"/>
              </a:rPr>
              <a:t>Automatización de pruebas</a:t>
            </a:r>
            <a:endParaRPr lang="es-PE" sz="1800" dirty="0">
              <a:latin typeface="+mn-lt"/>
              <a:ea typeface="Arial" charset="0"/>
              <a:cs typeface="Arial" charset="0"/>
            </a:endParaRPr>
          </a:p>
        </p:txBody>
      </p:sp>
      <p:pic>
        <p:nvPicPr>
          <p:cNvPr id="37" name="Picture 2"/>
          <p:cNvPicPr>
            <a:picLocks noChangeAspect="1"/>
          </p:cNvPicPr>
          <p:nvPr/>
        </p:nvPicPr>
        <p:blipFill>
          <a:blip r:embed="rId1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1216099" y="7785598"/>
            <a:ext cx="1068030" cy="424071"/>
          </a:xfrm>
          <a:prstGeom prst="rect">
            <a:avLst/>
          </a:prstGeom>
        </p:spPr>
      </p:pic>
      <p:pic>
        <p:nvPicPr>
          <p:cNvPr id="38" name="Picture 7"/>
          <p:cNvPicPr>
            <a:picLocks noChangeAspect="1"/>
          </p:cNvPicPr>
          <p:nvPr/>
        </p:nvPicPr>
        <p:blipFill>
          <a:blip r:embed="rId15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1536927" y="8412703"/>
            <a:ext cx="1319877" cy="619942"/>
          </a:xfrm>
          <a:prstGeom prst="rect">
            <a:avLst/>
          </a:prstGeom>
        </p:spPr>
      </p:pic>
      <p:pic>
        <p:nvPicPr>
          <p:cNvPr id="39" name="Picture 8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454896" y="3053555"/>
            <a:ext cx="1436487" cy="851252"/>
          </a:xfrm>
          <a:prstGeom prst="rect">
            <a:avLst/>
          </a:prstGeom>
        </p:spPr>
      </p:pic>
      <p:pic>
        <p:nvPicPr>
          <p:cNvPr id="42" name="Picture 62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440721" y="4753935"/>
            <a:ext cx="1127525" cy="1192889"/>
          </a:xfrm>
          <a:prstGeom prst="rect">
            <a:avLst/>
          </a:prstGeom>
        </p:spPr>
      </p:pic>
      <p:pic>
        <p:nvPicPr>
          <p:cNvPr id="45" name="Picture 74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9957847" y="4063152"/>
            <a:ext cx="1258252" cy="1143866"/>
          </a:xfrm>
          <a:prstGeom prst="rect">
            <a:avLst/>
          </a:prstGeom>
        </p:spPr>
      </p:pic>
      <p:cxnSp>
        <p:nvCxnSpPr>
          <p:cNvPr id="43" name="Straight Connector 7"/>
          <p:cNvCxnSpPr/>
          <p:nvPr/>
        </p:nvCxnSpPr>
        <p:spPr>
          <a:xfrm>
            <a:off x="9131969" y="2628865"/>
            <a:ext cx="23234" cy="3963591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7"/>
          <p:cNvCxnSpPr/>
          <p:nvPr/>
        </p:nvCxnSpPr>
        <p:spPr>
          <a:xfrm>
            <a:off x="5095651" y="2628864"/>
            <a:ext cx="23234" cy="3963591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7"/>
          <p:cNvCxnSpPr/>
          <p:nvPr/>
        </p:nvCxnSpPr>
        <p:spPr>
          <a:xfrm>
            <a:off x="2841380" y="2630351"/>
            <a:ext cx="23234" cy="3963591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338" name="Picture 2" descr="Imagen relacionada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2689" y="3039812"/>
            <a:ext cx="1860118" cy="980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0" name="Picture 4" descr="Resultado de imagen para unit test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271" y="3057310"/>
            <a:ext cx="2083944" cy="1172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CuadroTexto 33"/>
          <p:cNvSpPr txBox="1"/>
          <p:nvPr/>
        </p:nvSpPr>
        <p:spPr>
          <a:xfrm>
            <a:off x="9461181" y="5290336"/>
            <a:ext cx="20101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PE"/>
            </a:defPPr>
            <a:lvl1pPr>
              <a:defRPr sz="4800">
                <a:solidFill>
                  <a:srgbClr val="425269"/>
                </a:solidFill>
                <a:latin typeface="KievitPro-Book" panose="020B0604030101020102" pitchFamily="34" charset="0"/>
              </a:defRPr>
            </a:lvl1pPr>
          </a:lstStyle>
          <a:p>
            <a:pPr algn="ctr"/>
            <a:r>
              <a:rPr lang="es-PE" sz="1800" dirty="0" smtClean="0">
                <a:latin typeface="+mn-lt"/>
                <a:ea typeface="Arial" charset="0"/>
                <a:cs typeface="Arial" charset="0"/>
              </a:rPr>
              <a:t>Pruebas manuales y automáticas</a:t>
            </a:r>
            <a:endParaRPr lang="es-PE" sz="1800" dirty="0">
              <a:latin typeface="+mn-lt"/>
              <a:ea typeface="Arial" charset="0"/>
              <a:cs typeface="Arial" charset="0"/>
            </a:endParaRPr>
          </a:p>
        </p:txBody>
      </p:sp>
      <p:pic>
        <p:nvPicPr>
          <p:cNvPr id="40" name="Picture 2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18357" y="16603"/>
            <a:ext cx="2205038" cy="885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6675126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PE" dirty="0"/>
              <a:t>Entrega Continua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PE" dirty="0" smtClean="0"/>
              <a:t>Flujo de entrega continua</a:t>
            </a:r>
            <a:endParaRPr lang="es-PE" dirty="0"/>
          </a:p>
        </p:txBody>
      </p:sp>
      <p:sp>
        <p:nvSpPr>
          <p:cNvPr id="10" name="Text Placeholder 6"/>
          <p:cNvSpPr txBox="1">
            <a:spLocks/>
          </p:cNvSpPr>
          <p:nvPr/>
        </p:nvSpPr>
        <p:spPr>
          <a:xfrm>
            <a:off x="881562" y="1206857"/>
            <a:ext cx="10626815" cy="60888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s-ES" sz="1800" dirty="0">
                <a:solidFill>
                  <a:schemeClr val="tx2"/>
                </a:solidFill>
              </a:rPr>
              <a:t>La entrega continua es una práctica que asegura que los artefactos que se generan tengan un alto grado de calidad y estén listos para pasar a producción</a:t>
            </a:r>
            <a:r>
              <a:rPr lang="es-ES" sz="1800" dirty="0" smtClean="0">
                <a:solidFill>
                  <a:schemeClr val="tx2"/>
                </a:solidFill>
              </a:rPr>
              <a:t>.</a:t>
            </a:r>
            <a:endParaRPr lang="pt-BR" sz="1800" dirty="0">
              <a:solidFill>
                <a:schemeClr val="tx2"/>
              </a:solidFill>
            </a:endParaRPr>
          </a:p>
        </p:txBody>
      </p:sp>
      <p:pic>
        <p:nvPicPr>
          <p:cNvPr id="11" name="Picture 2" descr="https://avatars.slack-edge.com/2019-01-17/528389819366_e7a0672f0480b3e98d21_512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1361" y="3350214"/>
            <a:ext cx="497051" cy="497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Resultado de imagen para jenkins pn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682"/>
          <a:stretch/>
        </p:blipFill>
        <p:spPr bwMode="auto">
          <a:xfrm>
            <a:off x="2561112" y="3488414"/>
            <a:ext cx="453723" cy="576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6"/>
          <p:cNvSpPr txBox="1"/>
          <p:nvPr/>
        </p:nvSpPr>
        <p:spPr>
          <a:xfrm>
            <a:off x="-55768" y="2196541"/>
            <a:ext cx="1313184" cy="364707"/>
          </a:xfrm>
          <a:prstGeom prst="rect">
            <a:avLst/>
          </a:prstGeom>
          <a:noFill/>
        </p:spPr>
        <p:txBody>
          <a:bodyPr wrap="square" lIns="178304" tIns="89150" rIns="178304" bIns="89150">
            <a:spAutoFit/>
          </a:bodyPr>
          <a:lstStyle/>
          <a:p>
            <a:pPr algn="ctr" defTabSz="1783080">
              <a:defRPr/>
            </a:pPr>
            <a:r>
              <a:rPr lang="en-US" sz="1200" kern="0" dirty="0" err="1" smtClean="0">
                <a:solidFill>
                  <a:srgbClr val="4472C4">
                    <a:lumMod val="75000"/>
                  </a:srgbClr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Desarrollador</a:t>
            </a:r>
            <a:endParaRPr lang="en-US" sz="1200" kern="0" dirty="0">
              <a:solidFill>
                <a:srgbClr val="4472C4">
                  <a:lumMod val="75000"/>
                </a:srgbClr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7"/>
          <p:cNvSpPr txBox="1"/>
          <p:nvPr/>
        </p:nvSpPr>
        <p:spPr>
          <a:xfrm>
            <a:off x="-115458" y="3247466"/>
            <a:ext cx="1243574" cy="364707"/>
          </a:xfrm>
          <a:prstGeom prst="rect">
            <a:avLst/>
          </a:prstGeom>
          <a:noFill/>
        </p:spPr>
        <p:txBody>
          <a:bodyPr wrap="square" lIns="178304" tIns="89150" rIns="178304" bIns="89150">
            <a:spAutoFit/>
          </a:bodyPr>
          <a:lstStyle/>
          <a:p>
            <a:pPr algn="ctr" defTabSz="1783080">
              <a:defRPr/>
            </a:pPr>
            <a:r>
              <a:rPr lang="en-US" sz="1200" kern="0" dirty="0" err="1" smtClean="0">
                <a:solidFill>
                  <a:srgbClr val="4472C4">
                    <a:lumMod val="75000"/>
                  </a:srgbClr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Desarrollador</a:t>
            </a:r>
            <a:endParaRPr lang="en-US" sz="1200" kern="0" dirty="0">
              <a:solidFill>
                <a:srgbClr val="4472C4">
                  <a:lumMod val="75000"/>
                </a:srgbClr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8"/>
          <p:cNvSpPr txBox="1"/>
          <p:nvPr/>
        </p:nvSpPr>
        <p:spPr>
          <a:xfrm>
            <a:off x="-115458" y="4230128"/>
            <a:ext cx="1230470" cy="364707"/>
          </a:xfrm>
          <a:prstGeom prst="rect">
            <a:avLst/>
          </a:prstGeom>
          <a:noFill/>
        </p:spPr>
        <p:txBody>
          <a:bodyPr wrap="square" lIns="178304" tIns="89150" rIns="178304" bIns="89150">
            <a:spAutoFit/>
          </a:bodyPr>
          <a:lstStyle/>
          <a:p>
            <a:pPr algn="ctr" defTabSz="1783080">
              <a:defRPr/>
            </a:pPr>
            <a:r>
              <a:rPr lang="en-US" sz="1200" kern="0" dirty="0" err="1" smtClean="0">
                <a:solidFill>
                  <a:srgbClr val="4472C4">
                    <a:lumMod val="75000"/>
                  </a:srgbClr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Desarrollador</a:t>
            </a:r>
            <a:endParaRPr lang="en-US" sz="1200" kern="0" dirty="0">
              <a:solidFill>
                <a:srgbClr val="4472C4">
                  <a:lumMod val="75000"/>
                </a:srgbClr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6" name="Curved Connector 27"/>
          <p:cNvCxnSpPr>
            <a:cxnSpLocks noChangeShapeType="1"/>
            <a:stCxn id="19" idx="3"/>
            <a:endCxn id="56" idx="0"/>
          </p:cNvCxnSpPr>
          <p:nvPr/>
        </p:nvCxnSpPr>
        <p:spPr bwMode="auto">
          <a:xfrm>
            <a:off x="758024" y="2689836"/>
            <a:ext cx="810143" cy="737737"/>
          </a:xfrm>
          <a:prstGeom prst="curvedConnector2">
            <a:avLst/>
          </a:prstGeom>
          <a:noFill/>
          <a:ln w="12700" algn="ctr">
            <a:solidFill>
              <a:srgbClr val="2F5597"/>
            </a:solidFill>
            <a:prstDash val="sysDot"/>
            <a:miter lim="800000"/>
            <a:headEnd type="triangle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" name="Curved Connector 28"/>
          <p:cNvCxnSpPr>
            <a:cxnSpLocks noChangeShapeType="1"/>
            <a:stCxn id="21" idx="3"/>
            <a:endCxn id="56" idx="2"/>
          </p:cNvCxnSpPr>
          <p:nvPr/>
        </p:nvCxnSpPr>
        <p:spPr bwMode="auto">
          <a:xfrm flipV="1">
            <a:off x="758024" y="4020276"/>
            <a:ext cx="810143" cy="693622"/>
          </a:xfrm>
          <a:prstGeom prst="curvedConnector2">
            <a:avLst/>
          </a:prstGeom>
          <a:noFill/>
          <a:ln w="12700" algn="ctr">
            <a:solidFill>
              <a:srgbClr val="2F5597"/>
            </a:solidFill>
            <a:prstDash val="sysDot"/>
            <a:miter lim="800000"/>
            <a:headEnd type="stealth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" name="Straight Arrow Connector 29"/>
          <p:cNvCxnSpPr>
            <a:cxnSpLocks noChangeShapeType="1"/>
            <a:stCxn id="20" idx="3"/>
            <a:endCxn id="56" idx="1"/>
          </p:cNvCxnSpPr>
          <p:nvPr/>
        </p:nvCxnSpPr>
        <p:spPr bwMode="auto">
          <a:xfrm>
            <a:off x="758024" y="3723298"/>
            <a:ext cx="499392" cy="627"/>
          </a:xfrm>
          <a:prstGeom prst="straightConnector1">
            <a:avLst/>
          </a:prstGeom>
          <a:noFill/>
          <a:ln w="12700" algn="ctr">
            <a:solidFill>
              <a:srgbClr val="2F5597"/>
            </a:solidFill>
            <a:prstDash val="sysDot"/>
            <a:miter lim="800000"/>
            <a:headEnd type="triangle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9" name="Picture 32" descr="http://www.vonglitschka.com/images/officeicons.jpg"/>
          <p:cNvPicPr>
            <a:picLocks noChangeAspect="1" noChangeArrowheads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299" y="2500713"/>
            <a:ext cx="523725" cy="378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33" descr="http://www.vonglitschka.com/images/officeicons.jpg"/>
          <p:cNvPicPr>
            <a:picLocks noChangeAspect="1" noChangeArrowheads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299" y="3534175"/>
            <a:ext cx="523725" cy="378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34" descr="http://www.vonglitschka.com/images/officeicons.jpg"/>
          <p:cNvPicPr>
            <a:picLocks noChangeAspect="1" noChangeArrowheads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299" y="4524775"/>
            <a:ext cx="523725" cy="378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Box 36"/>
          <p:cNvSpPr txBox="1"/>
          <p:nvPr/>
        </p:nvSpPr>
        <p:spPr>
          <a:xfrm>
            <a:off x="888751" y="2497221"/>
            <a:ext cx="1278717" cy="487818"/>
          </a:xfrm>
          <a:prstGeom prst="rect">
            <a:avLst/>
          </a:prstGeom>
          <a:solidFill>
            <a:sysClr val="window" lastClr="FFFFFF">
              <a:lumMod val="95000"/>
              <a:alpha val="24000"/>
            </a:sysClr>
          </a:solidFill>
        </p:spPr>
        <p:txBody>
          <a:bodyPr wrap="square" lIns="178304" tIns="89150" rIns="178304" bIns="89150">
            <a:spAutoFit/>
          </a:bodyPr>
          <a:lstStyle>
            <a:defPPr>
              <a:defRPr lang="en-US"/>
            </a:defPPr>
            <a:lvl1pPr algn="ctr">
              <a:defRPr sz="800" b="1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1783080">
              <a:lnSpc>
                <a:spcPts val="1170"/>
              </a:lnSpc>
              <a:defRPr/>
            </a:pPr>
            <a:r>
              <a:rPr lang="en-US" sz="1200" b="0" kern="0" dirty="0" err="1" smtClean="0">
                <a:solidFill>
                  <a:srgbClr val="4472C4">
                    <a:lumMod val="75000"/>
                  </a:srgbClr>
                </a:solidFill>
                <a:latin typeface="+mn-lt"/>
              </a:rPr>
              <a:t>Repositorio</a:t>
            </a:r>
            <a:endParaRPr lang="en-US" sz="1200" b="0" kern="0" dirty="0" smtClean="0">
              <a:solidFill>
                <a:srgbClr val="4472C4">
                  <a:lumMod val="75000"/>
                </a:srgbClr>
              </a:solidFill>
              <a:latin typeface="+mn-lt"/>
            </a:endParaRPr>
          </a:p>
          <a:p>
            <a:pPr defTabSz="1783080">
              <a:lnSpc>
                <a:spcPts val="1170"/>
              </a:lnSpc>
              <a:defRPr/>
            </a:pPr>
            <a:r>
              <a:rPr lang="en-US" sz="1200" b="0" kern="0" dirty="0" smtClean="0">
                <a:solidFill>
                  <a:srgbClr val="4472C4">
                    <a:lumMod val="75000"/>
                  </a:srgbClr>
                </a:solidFill>
                <a:latin typeface="+mn-lt"/>
              </a:rPr>
              <a:t> de </a:t>
            </a:r>
            <a:r>
              <a:rPr lang="en-US" sz="1200" b="0" kern="0" dirty="0" err="1" smtClean="0">
                <a:solidFill>
                  <a:srgbClr val="4472C4">
                    <a:lumMod val="75000"/>
                  </a:srgbClr>
                </a:solidFill>
                <a:latin typeface="+mn-lt"/>
              </a:rPr>
              <a:t>código</a:t>
            </a:r>
            <a:endParaRPr lang="en-US" sz="1200" b="0" kern="0" dirty="0">
              <a:solidFill>
                <a:srgbClr val="4472C4">
                  <a:lumMod val="75000"/>
                </a:srgbClr>
              </a:solidFill>
              <a:latin typeface="+mn-lt"/>
            </a:endParaRPr>
          </a:p>
        </p:txBody>
      </p:sp>
      <p:pic>
        <p:nvPicPr>
          <p:cNvPr id="23" name="Picture 6" descr="Resultado de imagen para cloud 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5942" y="3531991"/>
            <a:ext cx="563924" cy="414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4" name="Diagrama 23"/>
          <p:cNvGraphicFramePr/>
          <p:nvPr>
            <p:extLst>
              <p:ext uri="{D42A27DB-BD31-4B8C-83A1-F6EECF244321}">
                <p14:modId xmlns:p14="http://schemas.microsoft.com/office/powerpoint/2010/main" val="3036632309"/>
              </p:ext>
            </p:extLst>
          </p:nvPr>
        </p:nvGraphicFramePr>
        <p:xfrm>
          <a:off x="4187390" y="2240317"/>
          <a:ext cx="2596884" cy="29843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cxnSp>
        <p:nvCxnSpPr>
          <p:cNvPr id="25" name="Straight Arrow Connector 29"/>
          <p:cNvCxnSpPr>
            <a:cxnSpLocks noChangeShapeType="1"/>
          </p:cNvCxnSpPr>
          <p:nvPr/>
        </p:nvCxnSpPr>
        <p:spPr bwMode="auto">
          <a:xfrm flipV="1">
            <a:off x="2239866" y="3723298"/>
            <a:ext cx="304486" cy="4167"/>
          </a:xfrm>
          <a:prstGeom prst="straightConnector1">
            <a:avLst/>
          </a:prstGeom>
          <a:noFill/>
          <a:ln w="12700" algn="ctr">
            <a:solidFill>
              <a:srgbClr val="2F5597"/>
            </a:solidFill>
            <a:prstDash val="sysDot"/>
            <a:miter lim="800000"/>
            <a:headEnd type="none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Straight Arrow Connector 29"/>
          <p:cNvCxnSpPr>
            <a:cxnSpLocks noChangeShapeType="1"/>
            <a:stCxn id="12" idx="3"/>
          </p:cNvCxnSpPr>
          <p:nvPr/>
        </p:nvCxnSpPr>
        <p:spPr bwMode="auto">
          <a:xfrm flipV="1">
            <a:off x="3014835" y="3451369"/>
            <a:ext cx="833063" cy="325225"/>
          </a:xfrm>
          <a:prstGeom prst="straightConnector1">
            <a:avLst/>
          </a:prstGeom>
          <a:noFill/>
          <a:ln w="12700" algn="ctr">
            <a:solidFill>
              <a:srgbClr val="2F5597"/>
            </a:solidFill>
            <a:prstDash val="sysDot"/>
            <a:miter lim="800000"/>
            <a:headEnd type="none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7" name="TextBox 36"/>
          <p:cNvSpPr txBox="1"/>
          <p:nvPr/>
        </p:nvSpPr>
        <p:spPr>
          <a:xfrm>
            <a:off x="1946455" y="2662857"/>
            <a:ext cx="1644944" cy="487818"/>
          </a:xfrm>
          <a:prstGeom prst="rect">
            <a:avLst/>
          </a:prstGeom>
          <a:solidFill>
            <a:sysClr val="window" lastClr="FFFFFF">
              <a:lumMod val="95000"/>
              <a:alpha val="24000"/>
            </a:sysClr>
          </a:solidFill>
        </p:spPr>
        <p:txBody>
          <a:bodyPr wrap="square" lIns="178304" tIns="89150" rIns="178304" bIns="89150">
            <a:spAutoFit/>
          </a:bodyPr>
          <a:lstStyle>
            <a:defPPr>
              <a:defRPr lang="en-US"/>
            </a:defPPr>
            <a:lvl1pPr algn="ctr">
              <a:defRPr sz="800" b="1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1783080">
              <a:lnSpc>
                <a:spcPts val="1170"/>
              </a:lnSpc>
              <a:defRPr/>
            </a:pPr>
            <a:r>
              <a:rPr lang="en-US" sz="1200" b="0" kern="0" dirty="0" err="1" smtClean="0">
                <a:solidFill>
                  <a:srgbClr val="4472C4">
                    <a:lumMod val="75000"/>
                  </a:srgbClr>
                </a:solidFill>
                <a:latin typeface="+mn-lt"/>
              </a:rPr>
              <a:t>Orquestadores</a:t>
            </a:r>
            <a:r>
              <a:rPr lang="en-US" sz="1200" b="0" kern="0" dirty="0" smtClean="0">
                <a:solidFill>
                  <a:srgbClr val="4472C4">
                    <a:lumMod val="75000"/>
                  </a:srgbClr>
                </a:solidFill>
                <a:latin typeface="+mn-lt"/>
              </a:rPr>
              <a:t> (</a:t>
            </a:r>
            <a:r>
              <a:rPr lang="en-US" sz="1200" b="0" kern="0" dirty="0" err="1" smtClean="0">
                <a:solidFill>
                  <a:srgbClr val="4472C4">
                    <a:lumMod val="75000"/>
                  </a:srgbClr>
                </a:solidFill>
                <a:latin typeface="+mn-lt"/>
              </a:rPr>
              <a:t>OnPremise</a:t>
            </a:r>
            <a:r>
              <a:rPr lang="en-US" sz="1200" b="0" kern="0" dirty="0" smtClean="0">
                <a:solidFill>
                  <a:srgbClr val="4472C4">
                    <a:lumMod val="75000"/>
                  </a:srgbClr>
                </a:solidFill>
                <a:latin typeface="+mn-lt"/>
              </a:rPr>
              <a:t> /Cloud)</a:t>
            </a:r>
            <a:endParaRPr lang="en-US" sz="1200" b="0" kern="0" dirty="0">
              <a:solidFill>
                <a:srgbClr val="4472C4">
                  <a:lumMod val="75000"/>
                </a:srgbClr>
              </a:solidFill>
              <a:latin typeface="+mn-lt"/>
            </a:endParaRPr>
          </a:p>
        </p:txBody>
      </p:sp>
      <p:sp>
        <p:nvSpPr>
          <p:cNvPr id="28" name="TextBox 36"/>
          <p:cNvSpPr txBox="1"/>
          <p:nvPr/>
        </p:nvSpPr>
        <p:spPr>
          <a:xfrm>
            <a:off x="5010441" y="1848833"/>
            <a:ext cx="1292416" cy="487818"/>
          </a:xfrm>
          <a:prstGeom prst="rect">
            <a:avLst/>
          </a:prstGeom>
          <a:solidFill>
            <a:sysClr val="window" lastClr="FFFFFF">
              <a:lumMod val="95000"/>
              <a:alpha val="24000"/>
            </a:sysClr>
          </a:solidFill>
        </p:spPr>
        <p:txBody>
          <a:bodyPr wrap="square" lIns="178304" tIns="89150" rIns="178304" bIns="89150">
            <a:spAutoFit/>
          </a:bodyPr>
          <a:lstStyle>
            <a:defPPr>
              <a:defRPr lang="en-US"/>
            </a:defPPr>
            <a:lvl1pPr algn="ctr">
              <a:defRPr sz="800" b="1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1783080">
              <a:lnSpc>
                <a:spcPts val="1170"/>
              </a:lnSpc>
              <a:defRPr/>
            </a:pPr>
            <a:r>
              <a:rPr lang="en-US" sz="1200" kern="0" dirty="0" err="1" smtClean="0">
                <a:solidFill>
                  <a:srgbClr val="4472C4">
                    <a:lumMod val="75000"/>
                  </a:srgbClr>
                </a:solidFill>
                <a:latin typeface="+mn-lt"/>
              </a:rPr>
              <a:t>Flujo</a:t>
            </a:r>
            <a:r>
              <a:rPr lang="en-US" sz="1200" kern="0" dirty="0" smtClean="0">
                <a:solidFill>
                  <a:srgbClr val="4472C4">
                    <a:lumMod val="75000"/>
                  </a:srgbClr>
                </a:solidFill>
                <a:latin typeface="+mn-lt"/>
              </a:rPr>
              <a:t> de </a:t>
            </a:r>
            <a:r>
              <a:rPr lang="en-US" sz="1200" kern="0" dirty="0" err="1" smtClean="0">
                <a:solidFill>
                  <a:srgbClr val="4472C4">
                    <a:lumMod val="75000"/>
                  </a:srgbClr>
                </a:solidFill>
                <a:latin typeface="+mn-lt"/>
              </a:rPr>
              <a:t>ejecución</a:t>
            </a:r>
            <a:endParaRPr lang="en-US" sz="1200" kern="0" dirty="0">
              <a:solidFill>
                <a:srgbClr val="4472C4">
                  <a:lumMod val="75000"/>
                </a:srgbClr>
              </a:solidFill>
              <a:latin typeface="+mn-lt"/>
            </a:endParaRPr>
          </a:p>
        </p:txBody>
      </p:sp>
      <p:sp>
        <p:nvSpPr>
          <p:cNvPr id="29" name="TextBox 36"/>
          <p:cNvSpPr txBox="1"/>
          <p:nvPr/>
        </p:nvSpPr>
        <p:spPr>
          <a:xfrm>
            <a:off x="2373204" y="4113627"/>
            <a:ext cx="900392" cy="333929"/>
          </a:xfrm>
          <a:prstGeom prst="rect">
            <a:avLst/>
          </a:prstGeom>
          <a:solidFill>
            <a:sysClr val="window" lastClr="FFFFFF">
              <a:lumMod val="95000"/>
              <a:alpha val="24000"/>
            </a:sysClr>
          </a:solidFill>
        </p:spPr>
        <p:txBody>
          <a:bodyPr wrap="square" lIns="178304" tIns="89150" rIns="178304" bIns="89150">
            <a:spAutoFit/>
          </a:bodyPr>
          <a:lstStyle>
            <a:defPPr>
              <a:defRPr lang="en-US"/>
            </a:defPPr>
            <a:lvl1pPr algn="ctr">
              <a:defRPr sz="800" b="1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1783080">
              <a:lnSpc>
                <a:spcPts val="1170"/>
              </a:lnSpc>
              <a:defRPr/>
            </a:pPr>
            <a:r>
              <a:rPr lang="en-US" sz="1200" b="0" kern="0" dirty="0" smtClean="0">
                <a:solidFill>
                  <a:srgbClr val="4472C4">
                    <a:lumMod val="75000"/>
                  </a:srgbClr>
                </a:solidFill>
                <a:latin typeface="+mn-lt"/>
              </a:rPr>
              <a:t>Maestro</a:t>
            </a:r>
            <a:endParaRPr lang="en-US" sz="1200" b="0" kern="0" dirty="0">
              <a:solidFill>
                <a:srgbClr val="4472C4">
                  <a:lumMod val="75000"/>
                </a:srgbClr>
              </a:solidFill>
              <a:latin typeface="+mn-lt"/>
            </a:endParaRPr>
          </a:p>
        </p:txBody>
      </p:sp>
      <p:pic>
        <p:nvPicPr>
          <p:cNvPr id="30" name="Picture 6" descr="http://www.vonglitschka.com/images/officeicons.jpg"/>
          <p:cNvPicPr>
            <a:picLocks noChangeAspect="1" noChangeArrowheads="1"/>
          </p:cNvPicPr>
          <p:nvPr/>
        </p:nvPicPr>
        <p:blipFill>
          <a:blip r:embed="rId1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3735" y="3825169"/>
            <a:ext cx="321243" cy="3063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6" descr="http://www.vonglitschka.com/images/officeicons.jpg"/>
          <p:cNvPicPr>
            <a:picLocks noChangeAspect="1" noChangeArrowheads="1"/>
          </p:cNvPicPr>
          <p:nvPr/>
        </p:nvPicPr>
        <p:blipFill>
          <a:blip r:embed="rId1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2928" y="4696408"/>
            <a:ext cx="321243" cy="3063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4" descr="Resultado de imagen para nexus repository png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0676" y="4690532"/>
            <a:ext cx="902216" cy="288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" name="Agrupar 12"/>
          <p:cNvGrpSpPr/>
          <p:nvPr/>
        </p:nvGrpSpPr>
        <p:grpSpPr>
          <a:xfrm>
            <a:off x="1929098" y="4382378"/>
            <a:ext cx="1741487" cy="697977"/>
            <a:chOff x="1984866" y="4041461"/>
            <a:chExt cx="1741487" cy="697977"/>
          </a:xfrm>
        </p:grpSpPr>
        <p:grpSp>
          <p:nvGrpSpPr>
            <p:cNvPr id="34" name="Grupo 33"/>
            <p:cNvGrpSpPr/>
            <p:nvPr/>
          </p:nvGrpSpPr>
          <p:grpSpPr>
            <a:xfrm>
              <a:off x="2235505" y="4043602"/>
              <a:ext cx="1463354" cy="358569"/>
              <a:chOff x="127326" y="196643"/>
              <a:chExt cx="3889542" cy="327990"/>
            </a:xfrm>
          </p:grpSpPr>
          <p:sp>
            <p:nvSpPr>
              <p:cNvPr id="40" name="Rectángulo 39"/>
              <p:cNvSpPr/>
              <p:nvPr/>
            </p:nvSpPr>
            <p:spPr>
              <a:xfrm>
                <a:off x="253578" y="211303"/>
                <a:ext cx="3763290" cy="280744"/>
              </a:xfrm>
              <a:prstGeom prst="rect">
                <a:avLst/>
              </a:prstGeom>
              <a:solidFill>
                <a:srgbClr val="FC8637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2">
                  <a:shade val="8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2">
                  <a:shade val="8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41" name="Rectángulo 40"/>
              <p:cNvSpPr/>
              <p:nvPr/>
            </p:nvSpPr>
            <p:spPr>
              <a:xfrm>
                <a:off x="127326" y="196643"/>
                <a:ext cx="3763289" cy="32799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260343" tIns="40640" rIns="40640" bIns="40640" numCol="1" spcCol="1270" anchor="ctr" anchorCtr="0">
                <a:noAutofit/>
              </a:bodyPr>
              <a:lstStyle/>
              <a:p>
                <a:pPr lvl="0" algn="l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900" kern="1200" dirty="0" smtClean="0"/>
                  <a:t>1 ) </a:t>
                </a:r>
                <a:r>
                  <a:rPr lang="en-US" sz="900" kern="1200" dirty="0" err="1" smtClean="0"/>
                  <a:t>Descargar</a:t>
                </a:r>
                <a:r>
                  <a:rPr lang="en-US" sz="900" kern="1200" dirty="0" smtClean="0"/>
                  <a:t>  </a:t>
                </a:r>
                <a:r>
                  <a:rPr lang="en-US" sz="900" kern="1200" dirty="0" err="1" smtClean="0"/>
                  <a:t>fuentes</a:t>
                </a:r>
                <a:endParaRPr lang="en-US" sz="900" kern="1200" dirty="0"/>
              </a:p>
            </p:txBody>
          </p:sp>
        </p:grpSp>
        <p:sp>
          <p:nvSpPr>
            <p:cNvPr id="35" name="Elipse 34"/>
            <p:cNvSpPr/>
            <p:nvPr/>
          </p:nvSpPr>
          <p:spPr>
            <a:xfrm>
              <a:off x="1984866" y="4041461"/>
              <a:ext cx="374260" cy="354791"/>
            </a:xfrm>
            <a:prstGeom prst="ellips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pic>
          <p:nvPicPr>
            <p:cNvPr id="36" name="Picture 2" descr="Resultado de imagen para git png"/>
            <p:cNvPicPr>
              <a:picLocks noChangeAspect="1" noChangeArrowheads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51537" y="4411621"/>
              <a:ext cx="362761" cy="1514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Picture 8" descr="Resultado de imagen para github png"/>
            <p:cNvPicPr>
              <a:picLocks noChangeAspect="1" noChangeArrowheads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46109" y="4419381"/>
              <a:ext cx="492034" cy="1638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13"/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29772" y="4351362"/>
              <a:ext cx="596581" cy="263420"/>
            </a:xfrm>
            <a:prstGeom prst="rect">
              <a:avLst/>
            </a:prstGeom>
          </p:spPr>
        </p:pic>
        <p:pic>
          <p:nvPicPr>
            <p:cNvPr id="39" name="Picture 6" descr="Resultado de imagen para logo bitbucket png"/>
            <p:cNvPicPr>
              <a:picLocks noChangeAspect="1" noChangeArrowheads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87109" y="4580025"/>
              <a:ext cx="1105924" cy="1594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42" name="Picture 2" descr="Resultado de imagen para junit png"/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3465" y="3224290"/>
            <a:ext cx="534631" cy="163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4" descr="Resultado de imagen para nunit png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562" y="2940945"/>
            <a:ext cx="650669" cy="36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0" descr="Resultado de imagen para sonarqube png"/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1323" y="3511805"/>
            <a:ext cx="1197721" cy="379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6" descr="http://www.vonglitschka.com/images/officeicons.jpg"/>
          <p:cNvPicPr>
            <a:picLocks noChangeAspect="1" noChangeArrowheads="1"/>
          </p:cNvPicPr>
          <p:nvPr/>
        </p:nvPicPr>
        <p:blipFill>
          <a:blip r:embed="rId1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8816" y="2985039"/>
            <a:ext cx="321243" cy="3063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6" name="Agrupar 10"/>
          <p:cNvGrpSpPr/>
          <p:nvPr/>
        </p:nvGrpSpPr>
        <p:grpSpPr>
          <a:xfrm>
            <a:off x="3725180" y="2952352"/>
            <a:ext cx="873512" cy="871539"/>
            <a:chOff x="3841108" y="3084487"/>
            <a:chExt cx="873512" cy="871539"/>
          </a:xfrm>
        </p:grpSpPr>
        <p:pic>
          <p:nvPicPr>
            <p:cNvPr id="47" name="Picture 4" descr="Resultado de imagen para jenkins png"/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4682"/>
            <a:stretch/>
          </p:blipFill>
          <p:spPr bwMode="auto">
            <a:xfrm>
              <a:off x="3953238" y="3084487"/>
              <a:ext cx="453723" cy="5763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8" name="TextBox 36"/>
            <p:cNvSpPr txBox="1"/>
            <p:nvPr/>
          </p:nvSpPr>
          <p:spPr>
            <a:xfrm>
              <a:off x="3841108" y="3622097"/>
              <a:ext cx="873512" cy="333929"/>
            </a:xfrm>
            <a:prstGeom prst="rect">
              <a:avLst/>
            </a:prstGeom>
            <a:solidFill>
              <a:sysClr val="window" lastClr="FFFFFF">
                <a:lumMod val="95000"/>
                <a:alpha val="24000"/>
              </a:sysClr>
            </a:solidFill>
          </p:spPr>
          <p:txBody>
            <a:bodyPr wrap="square" lIns="178304" tIns="89150" rIns="178304" bIns="89150">
              <a:spAutoFit/>
            </a:bodyPr>
            <a:lstStyle>
              <a:defPPr>
                <a:defRPr lang="en-US"/>
              </a:defPPr>
              <a:lvl1pPr algn="ctr">
                <a:defRPr sz="800" b="1">
                  <a:solidFill>
                    <a:schemeClr val="accent5">
                      <a:lumMod val="75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defTabSz="1783080">
                <a:lnSpc>
                  <a:spcPts val="1170"/>
                </a:lnSpc>
                <a:defRPr/>
              </a:pPr>
              <a:r>
                <a:rPr lang="en-US" sz="1200" b="0" kern="0" dirty="0" err="1" smtClean="0">
                  <a:solidFill>
                    <a:srgbClr val="4472C4">
                      <a:lumMod val="75000"/>
                    </a:srgbClr>
                  </a:solidFill>
                  <a:latin typeface="+mn-lt"/>
                </a:rPr>
                <a:t>Esclavo</a:t>
              </a:r>
              <a:endParaRPr lang="en-US" sz="1200" b="0" kern="0" dirty="0">
                <a:solidFill>
                  <a:srgbClr val="4472C4">
                    <a:lumMod val="75000"/>
                  </a:srgbClr>
                </a:solidFill>
                <a:latin typeface="+mn-lt"/>
              </a:endParaRPr>
            </a:p>
          </p:txBody>
        </p:sp>
        <p:pic>
          <p:nvPicPr>
            <p:cNvPr id="49" name="Picture 6" descr="http://www.vonglitschka.com/images/officeicons.jpg"/>
            <p:cNvPicPr>
              <a:picLocks noChangeAspect="1" noChangeArrowheads="1"/>
            </p:cNvPicPr>
            <p:nvPr/>
          </p:nvPicPr>
          <p:blipFill>
            <a:blip r:embed="rId11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77864" y="3460430"/>
              <a:ext cx="321243" cy="3063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50" name="Straight Arrow Connector 29"/>
          <p:cNvCxnSpPr>
            <a:cxnSpLocks noChangeShapeType="1"/>
            <a:stCxn id="12" idx="3"/>
          </p:cNvCxnSpPr>
          <p:nvPr/>
        </p:nvCxnSpPr>
        <p:spPr bwMode="auto">
          <a:xfrm>
            <a:off x="3014835" y="3776594"/>
            <a:ext cx="816854" cy="351572"/>
          </a:xfrm>
          <a:prstGeom prst="straightConnector1">
            <a:avLst/>
          </a:prstGeom>
          <a:noFill/>
          <a:ln w="12700" algn="ctr">
            <a:solidFill>
              <a:srgbClr val="2F5597"/>
            </a:solidFill>
            <a:prstDash val="sysDot"/>
            <a:miter lim="800000"/>
            <a:headEnd type="none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1" name="Picture 2" descr="esultado de imagen para atlassian bamboo logo png"/>
          <p:cNvPicPr>
            <a:picLocks noChangeAspect="1" noChangeArrowheads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0883" y="3024318"/>
            <a:ext cx="860958" cy="500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6" descr="http://www.vonglitschka.com/images/officeicons.jpg"/>
          <p:cNvPicPr>
            <a:picLocks noChangeAspect="1" noChangeArrowheads="1"/>
          </p:cNvPicPr>
          <p:nvPr/>
        </p:nvPicPr>
        <p:blipFill>
          <a:blip r:embed="rId1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3556" y="4823714"/>
            <a:ext cx="321243" cy="3063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Picture 12" descr="Resultado de imagen para ansible png"/>
          <p:cNvPicPr>
            <a:picLocks noChangeAspect="1" noChangeArrowheads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8484" y="5987988"/>
            <a:ext cx="293022" cy="360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2" descr="esultado de imagen para terraform png"/>
          <p:cNvPicPr>
            <a:picLocks noChangeAspect="1" noChangeArrowheads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762" y="5876475"/>
            <a:ext cx="1103717" cy="551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5" name="Diagrama 54"/>
          <p:cNvGraphicFramePr/>
          <p:nvPr>
            <p:extLst>
              <p:ext uri="{D42A27DB-BD31-4B8C-83A1-F6EECF244321}">
                <p14:modId xmlns:p14="http://schemas.microsoft.com/office/powerpoint/2010/main" val="4159215780"/>
              </p:ext>
            </p:extLst>
          </p:nvPr>
        </p:nvGraphicFramePr>
        <p:xfrm>
          <a:off x="8432320" y="2254545"/>
          <a:ext cx="2399442" cy="30748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pic>
        <p:nvPicPr>
          <p:cNvPr id="56" name="Picture 6" descr="http://www.vonglitschka.com/images/officeicons.jpg"/>
          <p:cNvPicPr>
            <a:picLocks noChangeAspect="1" noChangeArrowheads="1"/>
          </p:cNvPicPr>
          <p:nvPr/>
        </p:nvPicPr>
        <p:blipFill>
          <a:blip r:embed="rId2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416" y="3427573"/>
            <a:ext cx="621502" cy="592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7" name="Agrupar 70"/>
          <p:cNvGrpSpPr/>
          <p:nvPr/>
        </p:nvGrpSpPr>
        <p:grpSpPr>
          <a:xfrm>
            <a:off x="3725180" y="3733137"/>
            <a:ext cx="873512" cy="871539"/>
            <a:chOff x="3841108" y="3084487"/>
            <a:chExt cx="873512" cy="871539"/>
          </a:xfrm>
        </p:grpSpPr>
        <p:pic>
          <p:nvPicPr>
            <p:cNvPr id="58" name="Picture 4" descr="Resultado de imagen para jenkins png"/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4682"/>
            <a:stretch/>
          </p:blipFill>
          <p:spPr bwMode="auto">
            <a:xfrm>
              <a:off x="3953238" y="3084487"/>
              <a:ext cx="453723" cy="5763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9" name="TextBox 36"/>
            <p:cNvSpPr txBox="1"/>
            <p:nvPr/>
          </p:nvSpPr>
          <p:spPr>
            <a:xfrm>
              <a:off x="3841108" y="3622097"/>
              <a:ext cx="873512" cy="333929"/>
            </a:xfrm>
            <a:prstGeom prst="rect">
              <a:avLst/>
            </a:prstGeom>
            <a:solidFill>
              <a:sysClr val="window" lastClr="FFFFFF">
                <a:lumMod val="95000"/>
                <a:alpha val="24000"/>
              </a:sysClr>
            </a:solidFill>
          </p:spPr>
          <p:txBody>
            <a:bodyPr wrap="square" lIns="178304" tIns="89150" rIns="178304" bIns="89150">
              <a:spAutoFit/>
            </a:bodyPr>
            <a:lstStyle>
              <a:defPPr>
                <a:defRPr lang="en-US"/>
              </a:defPPr>
              <a:lvl1pPr algn="ctr">
                <a:defRPr sz="800" b="1">
                  <a:solidFill>
                    <a:schemeClr val="accent5">
                      <a:lumMod val="75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defTabSz="1783080">
                <a:lnSpc>
                  <a:spcPts val="1170"/>
                </a:lnSpc>
                <a:defRPr/>
              </a:pPr>
              <a:r>
                <a:rPr lang="en-US" sz="1200" b="0" kern="0" dirty="0" err="1" smtClean="0">
                  <a:solidFill>
                    <a:srgbClr val="4472C4">
                      <a:lumMod val="75000"/>
                    </a:srgbClr>
                  </a:solidFill>
                  <a:latin typeface="+mn-lt"/>
                </a:rPr>
                <a:t>Esclavo</a:t>
              </a:r>
              <a:endParaRPr lang="en-US" sz="1200" b="0" kern="0" dirty="0">
                <a:solidFill>
                  <a:srgbClr val="4472C4">
                    <a:lumMod val="75000"/>
                  </a:srgbClr>
                </a:solidFill>
                <a:latin typeface="+mn-lt"/>
              </a:endParaRPr>
            </a:p>
          </p:txBody>
        </p:sp>
        <p:pic>
          <p:nvPicPr>
            <p:cNvPr id="60" name="Picture 6" descr="http://www.vonglitschka.com/images/officeicons.jpg"/>
            <p:cNvPicPr>
              <a:picLocks noChangeAspect="1" noChangeArrowheads="1"/>
            </p:cNvPicPr>
            <p:nvPr/>
          </p:nvPicPr>
          <p:blipFill>
            <a:blip r:embed="rId11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77864" y="3460430"/>
              <a:ext cx="321243" cy="3063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61" name="Agrupar 18"/>
          <p:cNvGrpSpPr/>
          <p:nvPr/>
        </p:nvGrpSpPr>
        <p:grpSpPr>
          <a:xfrm>
            <a:off x="6783877" y="2340515"/>
            <a:ext cx="1298372" cy="637944"/>
            <a:chOff x="7798982" y="1953713"/>
            <a:chExt cx="1298372" cy="637944"/>
          </a:xfrm>
        </p:grpSpPr>
        <p:pic>
          <p:nvPicPr>
            <p:cNvPr id="62" name="Picture 26" descr="Resultado de imagen para gradle png"/>
            <p:cNvPicPr>
              <a:picLocks noChangeAspect="1" noChangeArrowheads="1"/>
            </p:cNvPicPr>
            <p:nvPr/>
          </p:nvPicPr>
          <p:blipFill>
            <a:blip r:embed="rId29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98982" y="1953713"/>
              <a:ext cx="685327" cy="3144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3" name="Picture 28" descr="Imagen relacionada"/>
            <p:cNvPicPr>
              <a:picLocks noChangeAspect="1" noChangeArrowheads="1"/>
            </p:cNvPicPr>
            <p:nvPr/>
          </p:nvPicPr>
          <p:blipFill>
            <a:blip r:embed="rId30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64926" y="2162005"/>
              <a:ext cx="443382" cy="3424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4" name="Picture 30" descr="Resultado de imagen para node png"/>
            <p:cNvPicPr>
              <a:picLocks noChangeAspect="1" noChangeArrowheads="1"/>
            </p:cNvPicPr>
            <p:nvPr/>
          </p:nvPicPr>
          <p:blipFill>
            <a:blip r:embed="rId31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75183" y="2039642"/>
              <a:ext cx="552015" cy="5520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5" name="Picture 6" descr="Resultado de imagen para maven png"/>
            <p:cNvPicPr>
              <a:picLocks noChangeAspect="1" noChangeArrowheads="1"/>
            </p:cNvPicPr>
            <p:nvPr/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42585" y="1961316"/>
              <a:ext cx="654769" cy="3004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6" name="Agrupar 79"/>
          <p:cNvGrpSpPr/>
          <p:nvPr/>
        </p:nvGrpSpPr>
        <p:grpSpPr>
          <a:xfrm>
            <a:off x="6853152" y="3987503"/>
            <a:ext cx="1298372" cy="637944"/>
            <a:chOff x="7798982" y="1953713"/>
            <a:chExt cx="1298372" cy="637944"/>
          </a:xfrm>
        </p:grpSpPr>
        <p:pic>
          <p:nvPicPr>
            <p:cNvPr id="67" name="Picture 26" descr="Resultado de imagen para gradle png"/>
            <p:cNvPicPr>
              <a:picLocks noChangeAspect="1" noChangeArrowheads="1"/>
            </p:cNvPicPr>
            <p:nvPr/>
          </p:nvPicPr>
          <p:blipFill>
            <a:blip r:embed="rId29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98982" y="1953713"/>
              <a:ext cx="685327" cy="3144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8" name="Picture 28" descr="Imagen relacionada"/>
            <p:cNvPicPr>
              <a:picLocks noChangeAspect="1" noChangeArrowheads="1"/>
            </p:cNvPicPr>
            <p:nvPr/>
          </p:nvPicPr>
          <p:blipFill>
            <a:blip r:embed="rId30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64926" y="2162005"/>
              <a:ext cx="443382" cy="3424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9" name="Picture 30" descr="Resultado de imagen para node png"/>
            <p:cNvPicPr>
              <a:picLocks noChangeAspect="1" noChangeArrowheads="1"/>
            </p:cNvPicPr>
            <p:nvPr/>
          </p:nvPicPr>
          <p:blipFill>
            <a:blip r:embed="rId31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75183" y="2039642"/>
              <a:ext cx="552015" cy="5520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0" name="Picture 6" descr="Resultado de imagen para maven png"/>
            <p:cNvPicPr>
              <a:picLocks noChangeAspect="1" noChangeArrowheads="1"/>
            </p:cNvPicPr>
            <p:nvPr/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42585" y="1961316"/>
              <a:ext cx="654769" cy="3004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1" name="Picture 6" descr="http://www.vonglitschka.com/images/officeicons.jpg"/>
          <p:cNvPicPr>
            <a:picLocks noChangeAspect="1" noChangeArrowheads="1"/>
          </p:cNvPicPr>
          <p:nvPr/>
        </p:nvPicPr>
        <p:blipFill>
          <a:blip r:embed="rId1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3556" y="2469085"/>
            <a:ext cx="321243" cy="3063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" name="Picture 6" descr="http://www.vonglitschka.com/images/officeicons.jpg"/>
          <p:cNvPicPr>
            <a:picLocks noChangeAspect="1" noChangeArrowheads="1"/>
          </p:cNvPicPr>
          <p:nvPr/>
        </p:nvPicPr>
        <p:blipFill>
          <a:blip r:embed="rId1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3556" y="3649893"/>
            <a:ext cx="321243" cy="3063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" name="Picture 6" descr="http://www.vonglitschka.com/images/officeicons.jpg"/>
          <p:cNvPicPr>
            <a:picLocks noChangeAspect="1" noChangeArrowheads="1"/>
          </p:cNvPicPr>
          <p:nvPr/>
        </p:nvPicPr>
        <p:blipFill>
          <a:blip r:embed="rId1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5719" y="3570931"/>
            <a:ext cx="321243" cy="3063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4" name="Rectángulo 73"/>
          <p:cNvSpPr/>
          <p:nvPr/>
        </p:nvSpPr>
        <p:spPr>
          <a:xfrm rot="16200000">
            <a:off x="7179204" y="3522380"/>
            <a:ext cx="2576322" cy="384450"/>
          </a:xfrm>
          <a:prstGeom prst="rect">
            <a:avLst/>
          </a:prstGeom>
          <a:solidFill>
            <a:srgbClr val="22B65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dirty="0" smtClean="0"/>
              <a:t>Despliegue</a:t>
            </a:r>
            <a:endParaRPr lang="es-ES_tradnl" dirty="0"/>
          </a:p>
        </p:txBody>
      </p:sp>
      <p:pic>
        <p:nvPicPr>
          <p:cNvPr id="75" name="Picture 2" descr="esultado de imagen para postman png"/>
          <p:cNvPicPr>
            <a:picLocks noChangeAspect="1" noChangeArrowheads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2244" y="2336651"/>
            <a:ext cx="606698" cy="545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4" descr="esultado de imagen para soapui png"/>
          <p:cNvPicPr>
            <a:picLocks noChangeAspect="1" noChangeArrowheads="1"/>
          </p:cNvPicPr>
          <p:nvPr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8942" y="2372563"/>
            <a:ext cx="976578" cy="300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2" descr="Resultado de imagen para junit png"/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0247" y="2729262"/>
            <a:ext cx="534631" cy="163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6" descr="esultado de imagen para jmeter png"/>
          <p:cNvPicPr>
            <a:picLocks noChangeAspect="1" noChangeArrowheads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8783" y="3401513"/>
            <a:ext cx="883138" cy="300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8" descr="esultado de imagen para selenium png"/>
          <p:cNvPicPr>
            <a:picLocks noChangeAspect="1" noChangeArrowheads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0536" y="3327155"/>
            <a:ext cx="592378" cy="536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12" descr="magen relacionada"/>
          <p:cNvPicPr>
            <a:picLocks noChangeAspect="1" noChangeArrowheads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98282" y="3760079"/>
            <a:ext cx="1414632" cy="656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Rectángulo 80"/>
          <p:cNvSpPr/>
          <p:nvPr/>
        </p:nvSpPr>
        <p:spPr>
          <a:xfrm>
            <a:off x="1309525" y="5522228"/>
            <a:ext cx="10598107" cy="384450"/>
          </a:xfrm>
          <a:prstGeom prst="rect">
            <a:avLst/>
          </a:prstGeom>
          <a:solidFill>
            <a:srgbClr val="357FC2"/>
          </a:solidFill>
          <a:ln>
            <a:solidFill>
              <a:srgbClr val="357FC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dirty="0" smtClean="0"/>
              <a:t>Infraestructura como c</a:t>
            </a:r>
            <a:r>
              <a:rPr lang="en-US" dirty="0" err="1" smtClean="0"/>
              <a:t>ódigo</a:t>
            </a:r>
            <a:endParaRPr lang="es-ES_tradnl" dirty="0"/>
          </a:p>
        </p:txBody>
      </p:sp>
      <p:pic>
        <p:nvPicPr>
          <p:cNvPr id="82" name="Picture 4" descr="Imagen relacionada"/>
          <p:cNvPicPr>
            <a:picLocks noChangeAspect="1" noChangeArrowheads="1"/>
          </p:cNvPicPr>
          <p:nvPr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9292" y="4301948"/>
            <a:ext cx="730955" cy="730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6" descr="Resultado de imagen para elk png elasticsearch"/>
          <p:cNvPicPr>
            <a:picLocks noChangeAspect="1" noChangeArrowheads="1"/>
          </p:cNvPicPr>
          <p:nvPr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98282" y="4921763"/>
            <a:ext cx="984369" cy="548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8" descr="Imagen relacionada"/>
          <p:cNvPicPr>
            <a:picLocks noChangeAspect="1" noChangeArrowheads="1"/>
          </p:cNvPicPr>
          <p:nvPr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6565" y="5947594"/>
            <a:ext cx="751761" cy="588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10" descr="Imagen relacionada"/>
          <p:cNvPicPr>
            <a:picLocks noChangeAspect="1" noChangeArrowheads="1"/>
          </p:cNvPicPr>
          <p:nvPr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5756" y="5975216"/>
            <a:ext cx="1090076" cy="384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Rectángulo 89"/>
          <p:cNvSpPr/>
          <p:nvPr/>
        </p:nvSpPr>
        <p:spPr>
          <a:xfrm>
            <a:off x="101679" y="2929815"/>
            <a:ext cx="978153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2000" b="1" cap="none" spc="0" dirty="0" smtClean="0">
                <a:ln w="0"/>
                <a:solidFill>
                  <a:srgbClr val="79B84F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CRUM</a:t>
            </a:r>
            <a:endParaRPr lang="es-ES" sz="5400" b="1" cap="none" spc="0" dirty="0">
              <a:ln w="0"/>
              <a:solidFill>
                <a:srgbClr val="79B84F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91" name="Rectángulo 90"/>
          <p:cNvSpPr/>
          <p:nvPr/>
        </p:nvSpPr>
        <p:spPr>
          <a:xfrm>
            <a:off x="20401" y="3891281"/>
            <a:ext cx="1115113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2000" b="1" cap="none" spc="0" dirty="0" smtClean="0">
                <a:ln w="0"/>
                <a:solidFill>
                  <a:srgbClr val="79B84F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KANBAN</a:t>
            </a:r>
            <a:endParaRPr lang="es-ES" sz="5400" b="1" cap="none" spc="0" dirty="0">
              <a:ln w="0"/>
              <a:solidFill>
                <a:srgbClr val="79B84F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92" name="Rectángulo 91"/>
          <p:cNvSpPr/>
          <p:nvPr/>
        </p:nvSpPr>
        <p:spPr>
          <a:xfrm>
            <a:off x="40785" y="5007854"/>
            <a:ext cx="739370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2000" b="1" cap="none" spc="0" dirty="0" smtClean="0">
                <a:ln w="0"/>
                <a:solidFill>
                  <a:srgbClr val="4FC7A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EAN</a:t>
            </a:r>
            <a:endParaRPr lang="es-ES" sz="5400" b="1" cap="none" spc="0" dirty="0">
              <a:ln w="0"/>
              <a:solidFill>
                <a:srgbClr val="4FC7A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93" name="Rectángulo 92"/>
          <p:cNvSpPr/>
          <p:nvPr/>
        </p:nvSpPr>
        <p:spPr>
          <a:xfrm>
            <a:off x="13027" y="5407964"/>
            <a:ext cx="1095172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s-ES" sz="2000" b="1" cap="none" spc="0" dirty="0" err="1" smtClean="0">
                <a:ln w="0"/>
                <a:solidFill>
                  <a:srgbClr val="ED7D3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Design</a:t>
            </a:r>
            <a:endParaRPr lang="es-ES" sz="2000" b="1" cap="none" spc="0" dirty="0" smtClean="0">
              <a:ln w="0"/>
              <a:solidFill>
                <a:srgbClr val="ED7D3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r>
              <a:rPr lang="es-ES" sz="2000" b="1" cap="none" spc="0" dirty="0" err="1" smtClean="0">
                <a:ln w="0"/>
                <a:solidFill>
                  <a:srgbClr val="ED7D3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hinking</a:t>
            </a:r>
            <a:endParaRPr lang="es-ES" sz="4400" b="1" cap="none" spc="0" dirty="0">
              <a:ln w="0"/>
              <a:solidFill>
                <a:srgbClr val="ED7D3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86" name="Picture 2"/>
          <p:cNvPicPr>
            <a:picLocks noChangeAspect="1" noChangeArrowheads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18357" y="16603"/>
            <a:ext cx="2205038" cy="885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5776515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PE" dirty="0" smtClean="0"/>
              <a:t>Infraestructura como código</a:t>
            </a:r>
            <a:endParaRPr lang="es-PE" dirty="0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11"/>
          </p:nvPr>
        </p:nvSpPr>
        <p:spPr>
          <a:xfrm>
            <a:off x="884238" y="744538"/>
            <a:ext cx="6576105" cy="452437"/>
          </a:xfrm>
        </p:spPr>
        <p:txBody>
          <a:bodyPr/>
          <a:lstStyle/>
          <a:p>
            <a:r>
              <a:rPr lang="es-PE" dirty="0" smtClean="0"/>
              <a:t>Implementación de scripts para aprovisionar infraestructura</a:t>
            </a:r>
            <a:endParaRPr lang="es-PE" dirty="0"/>
          </a:p>
        </p:txBody>
      </p:sp>
      <p:pic>
        <p:nvPicPr>
          <p:cNvPr id="6" name="Picture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2276" y="3306188"/>
            <a:ext cx="720000" cy="720000"/>
          </a:xfrm>
          <a:prstGeom prst="rect">
            <a:avLst/>
          </a:prstGeom>
        </p:spPr>
      </p:pic>
      <p:pic>
        <p:nvPicPr>
          <p:cNvPr id="7" name="Picture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627995" y="3306188"/>
            <a:ext cx="720000" cy="720000"/>
          </a:xfrm>
          <a:prstGeom prst="rect">
            <a:avLst/>
          </a:prstGeom>
        </p:spPr>
      </p:pic>
      <p:pic>
        <p:nvPicPr>
          <p:cNvPr id="8" name="Picture 2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512" y="3306188"/>
            <a:ext cx="720000" cy="720000"/>
          </a:xfrm>
          <a:prstGeom prst="rect">
            <a:avLst/>
          </a:prstGeom>
        </p:spPr>
      </p:pic>
      <p:sp>
        <p:nvSpPr>
          <p:cNvPr id="19" name="Elipse 18"/>
          <p:cNvSpPr>
            <a:spLocks noChangeAspect="1"/>
          </p:cNvSpPr>
          <p:nvPr/>
        </p:nvSpPr>
        <p:spPr>
          <a:xfrm>
            <a:off x="743511" y="3264667"/>
            <a:ext cx="577451" cy="540000"/>
          </a:xfrm>
          <a:prstGeom prst="ellipse">
            <a:avLst/>
          </a:prstGeom>
          <a:solidFill>
            <a:srgbClr val="FC86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s-PE" sz="2000" dirty="0">
                <a:latin typeface="Omnes Semibold" pitchFamily="50" charset="0"/>
              </a:rPr>
              <a:t>1</a:t>
            </a:r>
          </a:p>
        </p:txBody>
      </p:sp>
      <p:sp>
        <p:nvSpPr>
          <p:cNvPr id="20" name="CuadroTexto 19"/>
          <p:cNvSpPr txBox="1"/>
          <p:nvPr/>
        </p:nvSpPr>
        <p:spPr>
          <a:xfrm>
            <a:off x="1283512" y="3211501"/>
            <a:ext cx="3361059" cy="8402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90000"/>
              </a:lnSpc>
              <a:spcBef>
                <a:spcPts val="1000"/>
              </a:spcBef>
            </a:pPr>
            <a:r>
              <a:rPr lang="es-PE" dirty="0">
                <a:solidFill>
                  <a:schemeClr val="tx2"/>
                </a:solidFill>
              </a:rPr>
              <a:t>Crear máquinas virtuales y configurar redes </a:t>
            </a:r>
            <a:r>
              <a:rPr lang="es-PE" dirty="0" err="1">
                <a:solidFill>
                  <a:schemeClr val="tx2"/>
                </a:solidFill>
              </a:rPr>
              <a:t>on</a:t>
            </a:r>
            <a:r>
              <a:rPr lang="es-PE" dirty="0">
                <a:solidFill>
                  <a:schemeClr val="tx2"/>
                </a:solidFill>
              </a:rPr>
              <a:t> </a:t>
            </a:r>
            <a:r>
              <a:rPr lang="es-PE" dirty="0" err="1">
                <a:solidFill>
                  <a:schemeClr val="tx2"/>
                </a:solidFill>
              </a:rPr>
              <a:t>premise</a:t>
            </a:r>
            <a:r>
              <a:rPr lang="es-PE" dirty="0">
                <a:solidFill>
                  <a:schemeClr val="tx2"/>
                </a:solidFill>
              </a:rPr>
              <a:t> o en la nube.</a:t>
            </a:r>
          </a:p>
        </p:txBody>
      </p:sp>
      <p:sp>
        <p:nvSpPr>
          <p:cNvPr id="21" name="Elipse 20"/>
          <p:cNvSpPr>
            <a:spLocks noChangeAspect="1"/>
          </p:cNvSpPr>
          <p:nvPr/>
        </p:nvSpPr>
        <p:spPr>
          <a:xfrm>
            <a:off x="743512" y="4235526"/>
            <a:ext cx="540000" cy="540000"/>
          </a:xfrm>
          <a:prstGeom prst="ellipse">
            <a:avLst/>
          </a:prstGeom>
          <a:solidFill>
            <a:srgbClr val="79B8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s-PE" sz="2000" dirty="0">
                <a:latin typeface="Omnes Semibold" pitchFamily="50" charset="0"/>
              </a:rPr>
              <a:t>2</a:t>
            </a:r>
          </a:p>
        </p:txBody>
      </p:sp>
      <p:sp>
        <p:nvSpPr>
          <p:cNvPr id="22" name="CuadroTexto 21"/>
          <p:cNvSpPr txBox="1"/>
          <p:nvPr/>
        </p:nvSpPr>
        <p:spPr>
          <a:xfrm>
            <a:off x="1283511" y="4182360"/>
            <a:ext cx="3447949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90000"/>
              </a:lnSpc>
              <a:spcBef>
                <a:spcPts val="1000"/>
              </a:spcBef>
            </a:pPr>
            <a:r>
              <a:rPr lang="es-PE" dirty="0">
                <a:solidFill>
                  <a:schemeClr val="tx2"/>
                </a:solidFill>
              </a:rPr>
              <a:t>Instalación del Sistema Operativo (Linux o  Windows).</a:t>
            </a:r>
          </a:p>
        </p:txBody>
      </p:sp>
      <p:sp>
        <p:nvSpPr>
          <p:cNvPr id="25" name="Elipse 24"/>
          <p:cNvSpPr>
            <a:spLocks noChangeAspect="1"/>
          </p:cNvSpPr>
          <p:nvPr/>
        </p:nvSpPr>
        <p:spPr>
          <a:xfrm>
            <a:off x="7099406" y="1533623"/>
            <a:ext cx="540000" cy="540000"/>
          </a:xfrm>
          <a:prstGeom prst="ellipse">
            <a:avLst/>
          </a:prstGeom>
          <a:solidFill>
            <a:srgbClr val="357F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s-PE" sz="2000" dirty="0">
                <a:latin typeface="Omnes Semibold" pitchFamily="50" charset="0"/>
              </a:rPr>
              <a:t>4</a:t>
            </a:r>
          </a:p>
        </p:txBody>
      </p:sp>
      <p:sp>
        <p:nvSpPr>
          <p:cNvPr id="26" name="CuadroTexto 25"/>
          <p:cNvSpPr txBox="1"/>
          <p:nvPr/>
        </p:nvSpPr>
        <p:spPr>
          <a:xfrm>
            <a:off x="7599330" y="1480457"/>
            <a:ext cx="2990306" cy="14742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>
              <a:lnSpc>
                <a:spcPct val="90000"/>
              </a:lnSpc>
              <a:spcBef>
                <a:spcPts val="1000"/>
              </a:spcBef>
            </a:pPr>
            <a:r>
              <a:rPr lang="es-PE" dirty="0">
                <a:solidFill>
                  <a:schemeClr val="tx2"/>
                </a:solidFill>
              </a:rPr>
              <a:t>Instalación de Productos:</a:t>
            </a:r>
          </a:p>
          <a:p>
            <a:pPr algn="just">
              <a:lnSpc>
                <a:spcPct val="90000"/>
              </a:lnSpc>
              <a:spcBef>
                <a:spcPts val="1000"/>
              </a:spcBef>
            </a:pPr>
            <a:r>
              <a:rPr lang="es-PE" dirty="0">
                <a:solidFill>
                  <a:schemeClr val="tx2"/>
                </a:solidFill>
              </a:rPr>
              <a:t>  - Servidores de Aplicaciones</a:t>
            </a:r>
          </a:p>
          <a:p>
            <a:pPr algn="just">
              <a:lnSpc>
                <a:spcPct val="90000"/>
              </a:lnSpc>
              <a:spcBef>
                <a:spcPts val="1000"/>
              </a:spcBef>
            </a:pPr>
            <a:r>
              <a:rPr lang="es-PE" dirty="0">
                <a:solidFill>
                  <a:schemeClr val="tx2"/>
                </a:solidFill>
              </a:rPr>
              <a:t>  - Middleware</a:t>
            </a:r>
          </a:p>
          <a:p>
            <a:pPr algn="just">
              <a:lnSpc>
                <a:spcPct val="90000"/>
              </a:lnSpc>
              <a:spcBef>
                <a:spcPts val="1000"/>
              </a:spcBef>
            </a:pPr>
            <a:r>
              <a:rPr lang="es-PE" dirty="0">
                <a:solidFill>
                  <a:schemeClr val="tx2"/>
                </a:solidFill>
              </a:rPr>
              <a:t>  - Bases de Datos</a:t>
            </a:r>
          </a:p>
        </p:txBody>
      </p:sp>
      <p:sp>
        <p:nvSpPr>
          <p:cNvPr id="27" name="Elipse 26"/>
          <p:cNvSpPr>
            <a:spLocks noChangeAspect="1"/>
          </p:cNvSpPr>
          <p:nvPr/>
        </p:nvSpPr>
        <p:spPr>
          <a:xfrm>
            <a:off x="7099406" y="3099826"/>
            <a:ext cx="540000" cy="540000"/>
          </a:xfrm>
          <a:prstGeom prst="ellipse">
            <a:avLst/>
          </a:prstGeom>
          <a:solidFill>
            <a:srgbClr val="FC86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s-PE" sz="2000" dirty="0">
                <a:latin typeface="Omnes Semibold" pitchFamily="50" charset="0"/>
              </a:rPr>
              <a:t>5</a:t>
            </a:r>
          </a:p>
        </p:txBody>
      </p:sp>
      <p:sp>
        <p:nvSpPr>
          <p:cNvPr id="28" name="CuadroTexto 27"/>
          <p:cNvSpPr txBox="1"/>
          <p:nvPr/>
        </p:nvSpPr>
        <p:spPr>
          <a:xfrm>
            <a:off x="7639405" y="3177286"/>
            <a:ext cx="2835200" cy="14742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>
              <a:lnSpc>
                <a:spcPct val="90000"/>
              </a:lnSpc>
              <a:spcBef>
                <a:spcPts val="1000"/>
              </a:spcBef>
            </a:pPr>
            <a:r>
              <a:rPr lang="es-PE" dirty="0">
                <a:solidFill>
                  <a:schemeClr val="tx2"/>
                </a:solidFill>
              </a:rPr>
              <a:t>Configuración de Productos:</a:t>
            </a:r>
          </a:p>
          <a:p>
            <a:pPr algn="just">
              <a:lnSpc>
                <a:spcPct val="90000"/>
              </a:lnSpc>
              <a:spcBef>
                <a:spcPts val="1000"/>
              </a:spcBef>
            </a:pPr>
            <a:r>
              <a:rPr lang="es-PE" dirty="0">
                <a:solidFill>
                  <a:schemeClr val="tx2"/>
                </a:solidFill>
              </a:rPr>
              <a:t>  - Actualizaciones</a:t>
            </a:r>
          </a:p>
          <a:p>
            <a:pPr algn="just">
              <a:lnSpc>
                <a:spcPct val="90000"/>
              </a:lnSpc>
              <a:spcBef>
                <a:spcPts val="1000"/>
              </a:spcBef>
            </a:pPr>
            <a:r>
              <a:rPr lang="es-PE" dirty="0">
                <a:solidFill>
                  <a:schemeClr val="tx2"/>
                </a:solidFill>
              </a:rPr>
              <a:t>  - </a:t>
            </a:r>
            <a:r>
              <a:rPr lang="es-PE" dirty="0" err="1">
                <a:solidFill>
                  <a:schemeClr val="tx2"/>
                </a:solidFill>
              </a:rPr>
              <a:t>Patches</a:t>
            </a:r>
            <a:endParaRPr lang="es-PE" dirty="0">
              <a:solidFill>
                <a:schemeClr val="tx2"/>
              </a:solidFill>
            </a:endParaRPr>
          </a:p>
          <a:p>
            <a:pPr algn="just">
              <a:lnSpc>
                <a:spcPct val="90000"/>
              </a:lnSpc>
              <a:spcBef>
                <a:spcPts val="1000"/>
              </a:spcBef>
            </a:pPr>
            <a:r>
              <a:rPr lang="es-PE" dirty="0">
                <a:solidFill>
                  <a:schemeClr val="tx2"/>
                </a:solidFill>
              </a:rPr>
              <a:t>  - Conexión a Datos</a:t>
            </a:r>
          </a:p>
        </p:txBody>
      </p:sp>
      <p:sp>
        <p:nvSpPr>
          <p:cNvPr id="29" name="Elipse 28"/>
          <p:cNvSpPr>
            <a:spLocks noChangeAspect="1"/>
          </p:cNvSpPr>
          <p:nvPr/>
        </p:nvSpPr>
        <p:spPr>
          <a:xfrm>
            <a:off x="743512" y="5066882"/>
            <a:ext cx="540000" cy="540000"/>
          </a:xfrm>
          <a:prstGeom prst="ellipse">
            <a:avLst/>
          </a:prstGeom>
          <a:solidFill>
            <a:srgbClr val="FFCC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s-PE" sz="2000" dirty="0">
                <a:latin typeface="Omnes Semibold" pitchFamily="50" charset="0"/>
              </a:rPr>
              <a:t>3</a:t>
            </a:r>
          </a:p>
        </p:txBody>
      </p:sp>
      <p:sp>
        <p:nvSpPr>
          <p:cNvPr id="30" name="CuadroTexto 29"/>
          <p:cNvSpPr txBox="1"/>
          <p:nvPr/>
        </p:nvSpPr>
        <p:spPr>
          <a:xfrm>
            <a:off x="1283511" y="5013716"/>
            <a:ext cx="3601371" cy="14742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>
              <a:lnSpc>
                <a:spcPct val="90000"/>
              </a:lnSpc>
              <a:spcBef>
                <a:spcPts val="1000"/>
              </a:spcBef>
            </a:pPr>
            <a:r>
              <a:rPr lang="es-PE" dirty="0">
                <a:solidFill>
                  <a:schemeClr val="tx2"/>
                </a:solidFill>
              </a:rPr>
              <a:t>Configuración de Sistema Operativo:</a:t>
            </a:r>
          </a:p>
          <a:p>
            <a:pPr algn="just">
              <a:lnSpc>
                <a:spcPct val="90000"/>
              </a:lnSpc>
              <a:spcBef>
                <a:spcPts val="1000"/>
              </a:spcBef>
            </a:pPr>
            <a:r>
              <a:rPr lang="es-PE" dirty="0">
                <a:solidFill>
                  <a:schemeClr val="tx2"/>
                </a:solidFill>
              </a:rPr>
              <a:t>  - Actualizaciones</a:t>
            </a:r>
          </a:p>
          <a:p>
            <a:pPr algn="just">
              <a:lnSpc>
                <a:spcPct val="90000"/>
              </a:lnSpc>
              <a:spcBef>
                <a:spcPts val="1000"/>
              </a:spcBef>
            </a:pPr>
            <a:r>
              <a:rPr lang="es-PE" dirty="0">
                <a:solidFill>
                  <a:schemeClr val="tx2"/>
                </a:solidFill>
              </a:rPr>
              <a:t>  - </a:t>
            </a:r>
            <a:r>
              <a:rPr lang="es-PE" dirty="0" err="1">
                <a:solidFill>
                  <a:schemeClr val="tx2"/>
                </a:solidFill>
              </a:rPr>
              <a:t>Patches</a:t>
            </a:r>
            <a:endParaRPr lang="es-PE" dirty="0">
              <a:solidFill>
                <a:schemeClr val="tx2"/>
              </a:solidFill>
            </a:endParaRPr>
          </a:p>
          <a:p>
            <a:pPr algn="just">
              <a:lnSpc>
                <a:spcPct val="90000"/>
              </a:lnSpc>
              <a:spcBef>
                <a:spcPts val="1000"/>
              </a:spcBef>
            </a:pPr>
            <a:r>
              <a:rPr lang="es-PE" dirty="0">
                <a:solidFill>
                  <a:schemeClr val="tx2"/>
                </a:solidFill>
              </a:rPr>
              <a:t>  - Herramientas (Antivirus, etc.)</a:t>
            </a:r>
          </a:p>
        </p:txBody>
      </p:sp>
      <p:pic>
        <p:nvPicPr>
          <p:cNvPr id="33" name="Imagen 3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0384" y="5884308"/>
            <a:ext cx="1977201" cy="576058"/>
          </a:xfrm>
          <a:prstGeom prst="rect">
            <a:avLst/>
          </a:prstGeom>
        </p:spPr>
      </p:pic>
      <p:pic>
        <p:nvPicPr>
          <p:cNvPr id="34" name="Imagen 3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590007" y="4791116"/>
            <a:ext cx="1572725" cy="1800000"/>
          </a:xfrm>
          <a:prstGeom prst="rect">
            <a:avLst/>
          </a:prstGeom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  <p:sp>
        <p:nvSpPr>
          <p:cNvPr id="35" name="Flecha doblada 34"/>
          <p:cNvSpPr>
            <a:spLocks noChangeAspect="1"/>
          </p:cNvSpPr>
          <p:nvPr/>
        </p:nvSpPr>
        <p:spPr>
          <a:xfrm flipV="1">
            <a:off x="6125353" y="1480457"/>
            <a:ext cx="843161" cy="4851081"/>
          </a:xfrm>
          <a:prstGeom prst="bentArrow">
            <a:avLst/>
          </a:prstGeom>
          <a:solidFill>
            <a:srgbClr val="79B84F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schemeClr val="tx1"/>
              </a:solidFill>
            </a:endParaRPr>
          </a:p>
        </p:txBody>
      </p:sp>
      <p:pic>
        <p:nvPicPr>
          <p:cNvPr id="13314" name="Picture 2" descr="Imagen relacionada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789" y="1441308"/>
            <a:ext cx="3637698" cy="1636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6" name="Picture 4" descr="Resultado de imagen para terraform 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9894" y="4791116"/>
            <a:ext cx="2098179" cy="1049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8" name="Picture 6" descr="Resultado de imagen para iac chef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8849" y="5122154"/>
            <a:ext cx="1107527" cy="1185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7" name="Flecha doblada 96"/>
          <p:cNvSpPr>
            <a:spLocks noChangeAspect="1"/>
          </p:cNvSpPr>
          <p:nvPr/>
        </p:nvSpPr>
        <p:spPr>
          <a:xfrm flipV="1">
            <a:off x="266806" y="1480457"/>
            <a:ext cx="843161" cy="4872287"/>
          </a:xfrm>
          <a:prstGeom prst="bentArrow">
            <a:avLst/>
          </a:prstGeom>
          <a:solidFill>
            <a:srgbClr val="79B84F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schemeClr val="tx1"/>
              </a:solidFill>
            </a:endParaRPr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18357" y="16603"/>
            <a:ext cx="2205038" cy="885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759743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PE" dirty="0" smtClean="0"/>
              <a:t>Cómo implantar DevOps?</a:t>
            </a:r>
            <a:endParaRPr lang="es-PE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PE" dirty="0" smtClean="0"/>
              <a:t>Implantando prácticas DevOps</a:t>
            </a:r>
            <a:endParaRPr lang="es-PE" dirty="0"/>
          </a:p>
        </p:txBody>
      </p:sp>
      <p:sp>
        <p:nvSpPr>
          <p:cNvPr id="5" name="Pentagon 67"/>
          <p:cNvSpPr/>
          <p:nvPr/>
        </p:nvSpPr>
        <p:spPr>
          <a:xfrm>
            <a:off x="2066010" y="2750774"/>
            <a:ext cx="5758182" cy="627984"/>
          </a:xfrm>
          <a:prstGeom prst="homePlate">
            <a:avLst/>
          </a:prstGeom>
          <a:noFill/>
          <a:ln w="19050">
            <a:solidFill>
              <a:srgbClr val="4E5D7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968"/>
          </a:p>
        </p:txBody>
      </p:sp>
      <p:sp>
        <p:nvSpPr>
          <p:cNvPr id="6" name="Pentagon 66"/>
          <p:cNvSpPr/>
          <p:nvPr/>
        </p:nvSpPr>
        <p:spPr>
          <a:xfrm>
            <a:off x="2066010" y="2055910"/>
            <a:ext cx="5758182" cy="621766"/>
          </a:xfrm>
          <a:prstGeom prst="homePlate">
            <a:avLst/>
          </a:prstGeom>
          <a:noFill/>
          <a:ln w="19050">
            <a:solidFill>
              <a:srgbClr val="4E5D7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968"/>
          </a:p>
        </p:txBody>
      </p:sp>
      <p:sp>
        <p:nvSpPr>
          <p:cNvPr id="7" name="Pentagon 10"/>
          <p:cNvSpPr/>
          <p:nvPr/>
        </p:nvSpPr>
        <p:spPr>
          <a:xfrm>
            <a:off x="2066010" y="1404194"/>
            <a:ext cx="5758182" cy="591589"/>
          </a:xfrm>
          <a:prstGeom prst="homePlate">
            <a:avLst/>
          </a:prstGeom>
          <a:noFill/>
          <a:ln w="19050">
            <a:solidFill>
              <a:srgbClr val="4E5D7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968"/>
          </a:p>
        </p:txBody>
      </p:sp>
      <p:cxnSp>
        <p:nvCxnSpPr>
          <p:cNvPr id="9" name="Conector recto 8"/>
          <p:cNvCxnSpPr/>
          <p:nvPr/>
        </p:nvCxnSpPr>
        <p:spPr>
          <a:xfrm flipV="1">
            <a:off x="1827003" y="4382299"/>
            <a:ext cx="9895351" cy="1008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cto 44"/>
          <p:cNvCxnSpPr/>
          <p:nvPr/>
        </p:nvCxnSpPr>
        <p:spPr>
          <a:xfrm flipV="1">
            <a:off x="1827003" y="3542197"/>
            <a:ext cx="9894095" cy="3106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owchart: Magnetic Disk 3"/>
          <p:cNvSpPr/>
          <p:nvPr/>
        </p:nvSpPr>
        <p:spPr>
          <a:xfrm>
            <a:off x="2623450" y="5736524"/>
            <a:ext cx="1954064" cy="627608"/>
          </a:xfrm>
          <a:prstGeom prst="flowChartMagneticDisk">
            <a:avLst/>
          </a:prstGeom>
          <a:solidFill>
            <a:srgbClr val="FFCC0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 dirty="0" smtClean="0">
                <a:latin typeface="Century Gothic" panose="020B0502020202020204" pitchFamily="34" charset="0"/>
              </a:rPr>
              <a:t>Infraestructura</a:t>
            </a:r>
            <a:endParaRPr lang="en-US" sz="1400" b="1" dirty="0">
              <a:latin typeface="Century Gothic" panose="020B0502020202020204" pitchFamily="34" charset="0"/>
            </a:endParaRPr>
          </a:p>
        </p:txBody>
      </p:sp>
      <p:sp>
        <p:nvSpPr>
          <p:cNvPr id="27" name="Flowchart: Magnetic Disk 26"/>
          <p:cNvSpPr/>
          <p:nvPr/>
        </p:nvSpPr>
        <p:spPr>
          <a:xfrm>
            <a:off x="2623450" y="5213398"/>
            <a:ext cx="1954064" cy="627608"/>
          </a:xfrm>
          <a:prstGeom prst="flowChartMagneticDisk">
            <a:avLst/>
          </a:prstGeom>
          <a:solidFill>
            <a:srgbClr val="79B84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 dirty="0" smtClean="0">
                <a:latin typeface="Century Gothic" panose="020B0502020202020204" pitchFamily="34" charset="0"/>
              </a:rPr>
              <a:t>Arquitectura</a:t>
            </a:r>
            <a:endParaRPr lang="en-US" sz="1400" b="1" dirty="0">
              <a:latin typeface="Century Gothic" panose="020B0502020202020204" pitchFamily="34" charset="0"/>
            </a:endParaRPr>
          </a:p>
        </p:txBody>
      </p:sp>
      <p:sp>
        <p:nvSpPr>
          <p:cNvPr id="28" name="Flowchart: Magnetic Disk 27"/>
          <p:cNvSpPr/>
          <p:nvPr/>
        </p:nvSpPr>
        <p:spPr>
          <a:xfrm>
            <a:off x="2623450" y="4690271"/>
            <a:ext cx="1954064" cy="627608"/>
          </a:xfrm>
          <a:prstGeom prst="flowChartMagneticDisk">
            <a:avLst/>
          </a:prstGeom>
          <a:solidFill>
            <a:srgbClr val="FC8637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 dirty="0" smtClean="0">
                <a:latin typeface="Century Gothic" panose="020B0502020202020204" pitchFamily="34" charset="0"/>
              </a:rPr>
              <a:t>Aplicaciones</a:t>
            </a:r>
            <a:endParaRPr lang="en-US" b="1" dirty="0">
              <a:latin typeface="Century Gothic" panose="020B0502020202020204" pitchFamily="34" charset="0"/>
            </a:endParaRPr>
          </a:p>
        </p:txBody>
      </p:sp>
      <p:sp>
        <p:nvSpPr>
          <p:cNvPr id="30" name="CustomShape 18"/>
          <p:cNvSpPr/>
          <p:nvPr/>
        </p:nvSpPr>
        <p:spPr>
          <a:xfrm>
            <a:off x="8493259" y="2800488"/>
            <a:ext cx="2953913" cy="398655"/>
          </a:xfrm>
          <a:custGeom>
            <a:avLst/>
            <a:gdLst/>
            <a:ahLst/>
            <a:cxnLst/>
            <a:rect l="0" t="0" r="r" b="b"/>
            <a:pathLst>
              <a:path w="5802" h="1801">
                <a:moveTo>
                  <a:pt x="300" y="0"/>
                </a:moveTo>
                <a:cubicBezTo>
                  <a:pt x="150" y="0"/>
                  <a:pt x="0" y="150"/>
                  <a:pt x="0" y="300"/>
                </a:cubicBezTo>
                <a:lnTo>
                  <a:pt x="0" y="1500"/>
                </a:lnTo>
                <a:cubicBezTo>
                  <a:pt x="0" y="1650"/>
                  <a:pt x="150" y="1800"/>
                  <a:pt x="300" y="1800"/>
                </a:cubicBezTo>
                <a:lnTo>
                  <a:pt x="5500" y="1800"/>
                </a:lnTo>
                <a:cubicBezTo>
                  <a:pt x="5650" y="1800"/>
                  <a:pt x="5801" y="1650"/>
                  <a:pt x="5801" y="1500"/>
                </a:cubicBezTo>
                <a:lnTo>
                  <a:pt x="5801" y="300"/>
                </a:lnTo>
                <a:cubicBezTo>
                  <a:pt x="5801" y="150"/>
                  <a:pt x="5650" y="0"/>
                  <a:pt x="5500" y="0"/>
                </a:cubicBezTo>
                <a:lnTo>
                  <a:pt x="300" y="0"/>
                </a:lnTo>
              </a:path>
            </a:pathLst>
          </a:custGeom>
          <a:solidFill>
            <a:srgbClr val="FFFFFF"/>
          </a:solidFill>
          <a:ln>
            <a:noFill/>
            <a:prstDash val="dash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0" tIns="45000" rIns="0" bIns="45000" anchor="ctr">
            <a:spAutoFit/>
          </a:bodyPr>
          <a:lstStyle/>
          <a:p>
            <a:pPr algn="ctr"/>
            <a:r>
              <a:rPr lang="es-PE" sz="2000" b="1" spc="-1" dirty="0" smtClean="0">
                <a:solidFill>
                  <a:srgbClr val="44546A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</a:rPr>
              <a:t>Agile &amp; DevOps</a:t>
            </a:r>
          </a:p>
        </p:txBody>
      </p:sp>
      <p:sp>
        <p:nvSpPr>
          <p:cNvPr id="36" name="CustomShape 18"/>
          <p:cNvSpPr/>
          <p:nvPr/>
        </p:nvSpPr>
        <p:spPr>
          <a:xfrm>
            <a:off x="344972" y="1785843"/>
            <a:ext cx="1437134" cy="829543"/>
          </a:xfrm>
          <a:custGeom>
            <a:avLst/>
            <a:gdLst/>
            <a:ahLst/>
            <a:cxnLst/>
            <a:rect l="0" t="0" r="r" b="b"/>
            <a:pathLst>
              <a:path w="5802" h="1801">
                <a:moveTo>
                  <a:pt x="300" y="0"/>
                </a:moveTo>
                <a:cubicBezTo>
                  <a:pt x="150" y="0"/>
                  <a:pt x="0" y="150"/>
                  <a:pt x="0" y="300"/>
                </a:cubicBezTo>
                <a:lnTo>
                  <a:pt x="0" y="1500"/>
                </a:lnTo>
                <a:cubicBezTo>
                  <a:pt x="0" y="1650"/>
                  <a:pt x="150" y="1800"/>
                  <a:pt x="300" y="1800"/>
                </a:cubicBezTo>
                <a:lnTo>
                  <a:pt x="5500" y="1800"/>
                </a:lnTo>
                <a:cubicBezTo>
                  <a:pt x="5650" y="1800"/>
                  <a:pt x="5801" y="1650"/>
                  <a:pt x="5801" y="1500"/>
                </a:cubicBezTo>
                <a:lnTo>
                  <a:pt x="5801" y="300"/>
                </a:lnTo>
                <a:cubicBezTo>
                  <a:pt x="5801" y="150"/>
                  <a:pt x="5650" y="0"/>
                  <a:pt x="5500" y="0"/>
                </a:cubicBezTo>
                <a:lnTo>
                  <a:pt x="300" y="0"/>
                </a:lnTo>
              </a:path>
            </a:pathLst>
          </a:custGeom>
          <a:noFill/>
          <a:ln>
            <a:noFill/>
            <a:prstDash val="dash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0" tIns="45000" rIns="0" bIns="45000" anchor="ctr">
            <a:spAutoFit/>
          </a:bodyPr>
          <a:lstStyle/>
          <a:p>
            <a:pPr algn="ctr"/>
            <a:r>
              <a:rPr lang="es-ES" sz="2400" b="1" spc="-1" dirty="0">
                <a:solidFill>
                  <a:srgbClr val="357FC2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</a:rPr>
              <a:t>Cambio cultural</a:t>
            </a:r>
            <a:endParaRPr lang="es-PE" sz="2400" b="1" spc="-1" dirty="0">
              <a:solidFill>
                <a:srgbClr val="357FC2"/>
              </a:solidFill>
              <a:uFill>
                <a:solidFill>
                  <a:srgbClr val="FFFFFF"/>
                </a:solidFill>
              </a:uFill>
              <a:latin typeface="Century Gothic" panose="020B0502020202020204" pitchFamily="34" charset="0"/>
            </a:endParaRPr>
          </a:p>
        </p:txBody>
      </p:sp>
      <p:sp>
        <p:nvSpPr>
          <p:cNvPr id="40" name="Right Arrow 8"/>
          <p:cNvSpPr/>
          <p:nvPr/>
        </p:nvSpPr>
        <p:spPr>
          <a:xfrm>
            <a:off x="2109230" y="1412776"/>
            <a:ext cx="1682513" cy="588160"/>
          </a:xfrm>
          <a:prstGeom prst="rightArrow">
            <a:avLst>
              <a:gd name="adj1" fmla="val 71515"/>
              <a:gd name="adj2" fmla="val 50000"/>
            </a:avLst>
          </a:prstGeom>
          <a:solidFill>
            <a:srgbClr val="FC8637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000" b="1" dirty="0"/>
              <a:t>Procesos</a:t>
            </a:r>
            <a:endParaRPr lang="en-US" sz="2000" b="1" dirty="0"/>
          </a:p>
        </p:txBody>
      </p:sp>
      <p:sp>
        <p:nvSpPr>
          <p:cNvPr id="41" name="Right Arrow 54"/>
          <p:cNvSpPr/>
          <p:nvPr/>
        </p:nvSpPr>
        <p:spPr>
          <a:xfrm>
            <a:off x="2109230" y="2084169"/>
            <a:ext cx="1885409" cy="593669"/>
          </a:xfrm>
          <a:prstGeom prst="rightArrow">
            <a:avLst>
              <a:gd name="adj1" fmla="val 71515"/>
              <a:gd name="adj2" fmla="val 50000"/>
            </a:avLst>
          </a:prstGeom>
          <a:solidFill>
            <a:srgbClr val="FC8637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000" b="1" dirty="0" smtClean="0"/>
              <a:t>Aplicaciones</a:t>
            </a:r>
            <a:endParaRPr lang="en-US" sz="2000" b="1" dirty="0"/>
          </a:p>
        </p:txBody>
      </p:sp>
      <p:sp>
        <p:nvSpPr>
          <p:cNvPr id="42" name="Right Arrow 57"/>
          <p:cNvSpPr/>
          <p:nvPr/>
        </p:nvSpPr>
        <p:spPr>
          <a:xfrm>
            <a:off x="2109230" y="2740510"/>
            <a:ext cx="2114561" cy="623451"/>
          </a:xfrm>
          <a:prstGeom prst="rightArrow">
            <a:avLst>
              <a:gd name="adj1" fmla="val 71515"/>
              <a:gd name="adj2" fmla="val 50000"/>
            </a:avLst>
          </a:prstGeom>
          <a:solidFill>
            <a:srgbClr val="FC8637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000" b="1" dirty="0"/>
              <a:t>Organización</a:t>
            </a:r>
            <a:endParaRPr lang="en-US" sz="2000" b="1" dirty="0"/>
          </a:p>
        </p:txBody>
      </p:sp>
      <p:sp>
        <p:nvSpPr>
          <p:cNvPr id="43" name="CustomShape 18"/>
          <p:cNvSpPr/>
          <p:nvPr/>
        </p:nvSpPr>
        <p:spPr>
          <a:xfrm>
            <a:off x="4483149" y="1536767"/>
            <a:ext cx="2332930" cy="340178"/>
          </a:xfrm>
          <a:custGeom>
            <a:avLst/>
            <a:gdLst/>
            <a:ahLst/>
            <a:cxnLst/>
            <a:rect l="0" t="0" r="r" b="b"/>
            <a:pathLst>
              <a:path w="5802" h="1801">
                <a:moveTo>
                  <a:pt x="300" y="0"/>
                </a:moveTo>
                <a:cubicBezTo>
                  <a:pt x="150" y="0"/>
                  <a:pt x="0" y="150"/>
                  <a:pt x="0" y="300"/>
                </a:cubicBezTo>
                <a:lnTo>
                  <a:pt x="0" y="1500"/>
                </a:lnTo>
                <a:cubicBezTo>
                  <a:pt x="0" y="1650"/>
                  <a:pt x="150" y="1800"/>
                  <a:pt x="300" y="1800"/>
                </a:cubicBezTo>
                <a:lnTo>
                  <a:pt x="5500" y="1800"/>
                </a:lnTo>
                <a:cubicBezTo>
                  <a:pt x="5650" y="1800"/>
                  <a:pt x="5801" y="1650"/>
                  <a:pt x="5801" y="1500"/>
                </a:cubicBezTo>
                <a:lnTo>
                  <a:pt x="5801" y="300"/>
                </a:lnTo>
                <a:cubicBezTo>
                  <a:pt x="5801" y="150"/>
                  <a:pt x="5650" y="0"/>
                  <a:pt x="5500" y="0"/>
                </a:cubicBezTo>
                <a:lnTo>
                  <a:pt x="300" y="0"/>
                </a:lnTo>
              </a:path>
            </a:pathLst>
          </a:custGeom>
          <a:noFill/>
          <a:ln>
            <a:noFill/>
            <a:prstDash val="dash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0" tIns="45000" rIns="0" bIns="45000" anchor="ctr">
            <a:spAutoFit/>
          </a:bodyPr>
          <a:lstStyle/>
          <a:p>
            <a:pPr algn="just">
              <a:lnSpc>
                <a:spcPct val="90000"/>
              </a:lnSpc>
              <a:spcBef>
                <a:spcPts val="1000"/>
              </a:spcBef>
            </a:pPr>
            <a:r>
              <a:rPr lang="es-ES" b="1" dirty="0">
                <a:solidFill>
                  <a:schemeClr val="tx2"/>
                </a:solidFill>
              </a:rPr>
              <a:t>Organizar los procesos</a:t>
            </a:r>
            <a:endParaRPr lang="es-PE" b="1" dirty="0">
              <a:solidFill>
                <a:schemeClr val="tx2"/>
              </a:solidFill>
            </a:endParaRPr>
          </a:p>
        </p:txBody>
      </p:sp>
      <p:sp>
        <p:nvSpPr>
          <p:cNvPr id="44" name="CustomShape 18"/>
          <p:cNvSpPr/>
          <p:nvPr/>
        </p:nvSpPr>
        <p:spPr>
          <a:xfrm>
            <a:off x="4483149" y="2210914"/>
            <a:ext cx="2685582" cy="340178"/>
          </a:xfrm>
          <a:custGeom>
            <a:avLst/>
            <a:gdLst/>
            <a:ahLst/>
            <a:cxnLst/>
            <a:rect l="0" t="0" r="r" b="b"/>
            <a:pathLst>
              <a:path w="5802" h="1801">
                <a:moveTo>
                  <a:pt x="300" y="0"/>
                </a:moveTo>
                <a:cubicBezTo>
                  <a:pt x="150" y="0"/>
                  <a:pt x="0" y="150"/>
                  <a:pt x="0" y="300"/>
                </a:cubicBezTo>
                <a:lnTo>
                  <a:pt x="0" y="1500"/>
                </a:lnTo>
                <a:cubicBezTo>
                  <a:pt x="0" y="1650"/>
                  <a:pt x="150" y="1800"/>
                  <a:pt x="300" y="1800"/>
                </a:cubicBezTo>
                <a:lnTo>
                  <a:pt x="5500" y="1800"/>
                </a:lnTo>
                <a:cubicBezTo>
                  <a:pt x="5650" y="1800"/>
                  <a:pt x="5801" y="1650"/>
                  <a:pt x="5801" y="1500"/>
                </a:cubicBezTo>
                <a:lnTo>
                  <a:pt x="5801" y="300"/>
                </a:lnTo>
                <a:cubicBezTo>
                  <a:pt x="5801" y="150"/>
                  <a:pt x="5650" y="0"/>
                  <a:pt x="5500" y="0"/>
                </a:cubicBezTo>
                <a:lnTo>
                  <a:pt x="300" y="0"/>
                </a:lnTo>
              </a:path>
            </a:pathLst>
          </a:custGeom>
          <a:noFill/>
          <a:ln>
            <a:noFill/>
            <a:prstDash val="dash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0" tIns="45000" rIns="0" bIns="45000" anchor="ctr">
            <a:spAutoFit/>
          </a:bodyPr>
          <a:lstStyle/>
          <a:p>
            <a:pPr algn="just">
              <a:lnSpc>
                <a:spcPct val="90000"/>
              </a:lnSpc>
              <a:spcBef>
                <a:spcPts val="1000"/>
              </a:spcBef>
            </a:pPr>
            <a:r>
              <a:rPr lang="es-ES" b="1" dirty="0">
                <a:solidFill>
                  <a:schemeClr val="tx2"/>
                </a:solidFill>
              </a:rPr>
              <a:t>Optimizar las aplicaciones</a:t>
            </a:r>
            <a:endParaRPr lang="es-PE" b="1" dirty="0">
              <a:solidFill>
                <a:schemeClr val="tx2"/>
              </a:solidFill>
            </a:endParaRPr>
          </a:p>
        </p:txBody>
      </p:sp>
      <p:sp>
        <p:nvSpPr>
          <p:cNvPr id="45" name="CustomShape 18"/>
          <p:cNvSpPr/>
          <p:nvPr/>
        </p:nvSpPr>
        <p:spPr>
          <a:xfrm>
            <a:off x="4483149" y="2882146"/>
            <a:ext cx="2332930" cy="340178"/>
          </a:xfrm>
          <a:custGeom>
            <a:avLst/>
            <a:gdLst/>
            <a:ahLst/>
            <a:cxnLst/>
            <a:rect l="0" t="0" r="r" b="b"/>
            <a:pathLst>
              <a:path w="5802" h="1801">
                <a:moveTo>
                  <a:pt x="300" y="0"/>
                </a:moveTo>
                <a:cubicBezTo>
                  <a:pt x="150" y="0"/>
                  <a:pt x="0" y="150"/>
                  <a:pt x="0" y="300"/>
                </a:cubicBezTo>
                <a:lnTo>
                  <a:pt x="0" y="1500"/>
                </a:lnTo>
                <a:cubicBezTo>
                  <a:pt x="0" y="1650"/>
                  <a:pt x="150" y="1800"/>
                  <a:pt x="300" y="1800"/>
                </a:cubicBezTo>
                <a:lnTo>
                  <a:pt x="5500" y="1800"/>
                </a:lnTo>
                <a:cubicBezTo>
                  <a:pt x="5650" y="1800"/>
                  <a:pt x="5801" y="1650"/>
                  <a:pt x="5801" y="1500"/>
                </a:cubicBezTo>
                <a:lnTo>
                  <a:pt x="5801" y="300"/>
                </a:lnTo>
                <a:cubicBezTo>
                  <a:pt x="5801" y="150"/>
                  <a:pt x="5650" y="0"/>
                  <a:pt x="5500" y="0"/>
                </a:cubicBezTo>
                <a:lnTo>
                  <a:pt x="300" y="0"/>
                </a:lnTo>
              </a:path>
            </a:pathLst>
          </a:custGeom>
          <a:noFill/>
          <a:ln>
            <a:noFill/>
            <a:prstDash val="dash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0" tIns="45000" rIns="0" bIns="45000" anchor="ctr">
            <a:spAutoFit/>
          </a:bodyPr>
          <a:lstStyle/>
          <a:p>
            <a:pPr algn="just">
              <a:lnSpc>
                <a:spcPct val="90000"/>
              </a:lnSpc>
              <a:spcBef>
                <a:spcPts val="1000"/>
              </a:spcBef>
            </a:pPr>
            <a:r>
              <a:rPr lang="es-ES" b="1" dirty="0">
                <a:solidFill>
                  <a:schemeClr val="tx2"/>
                </a:solidFill>
              </a:rPr>
              <a:t>Alinear la organización</a:t>
            </a:r>
            <a:endParaRPr lang="es-PE" b="1" dirty="0">
              <a:solidFill>
                <a:schemeClr val="tx2"/>
              </a:solidFill>
            </a:endParaRPr>
          </a:p>
        </p:txBody>
      </p:sp>
      <p:pic>
        <p:nvPicPr>
          <p:cNvPr id="50" name="Imagen 4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35743" y="4864869"/>
            <a:ext cx="1197180" cy="1370185"/>
          </a:xfrm>
          <a:prstGeom prst="rect">
            <a:avLst/>
          </a:prstGeom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  <p:pic>
        <p:nvPicPr>
          <p:cNvPr id="51" name="Imagen 5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47005" y="4864869"/>
            <a:ext cx="1197180" cy="1370185"/>
          </a:xfrm>
          <a:prstGeom prst="rect">
            <a:avLst/>
          </a:prstGeom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  <p:pic>
        <p:nvPicPr>
          <p:cNvPr id="52" name="Imagen 5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59796" y="4841137"/>
            <a:ext cx="1197180" cy="1370185"/>
          </a:xfrm>
          <a:prstGeom prst="rect">
            <a:avLst/>
          </a:prstGeom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  <p:sp>
        <p:nvSpPr>
          <p:cNvPr id="53" name="CustomShape 18"/>
          <p:cNvSpPr/>
          <p:nvPr/>
        </p:nvSpPr>
        <p:spPr>
          <a:xfrm>
            <a:off x="5481951" y="6263041"/>
            <a:ext cx="976616" cy="306323"/>
          </a:xfrm>
          <a:custGeom>
            <a:avLst/>
            <a:gdLst/>
            <a:ahLst/>
            <a:cxnLst/>
            <a:rect l="0" t="0" r="r" b="b"/>
            <a:pathLst>
              <a:path w="5802" h="1801">
                <a:moveTo>
                  <a:pt x="300" y="0"/>
                </a:moveTo>
                <a:cubicBezTo>
                  <a:pt x="150" y="0"/>
                  <a:pt x="0" y="150"/>
                  <a:pt x="0" y="300"/>
                </a:cubicBezTo>
                <a:lnTo>
                  <a:pt x="0" y="1500"/>
                </a:lnTo>
                <a:cubicBezTo>
                  <a:pt x="0" y="1650"/>
                  <a:pt x="150" y="1800"/>
                  <a:pt x="300" y="1800"/>
                </a:cubicBezTo>
                <a:lnTo>
                  <a:pt x="5500" y="1800"/>
                </a:lnTo>
                <a:cubicBezTo>
                  <a:pt x="5650" y="1800"/>
                  <a:pt x="5801" y="1650"/>
                  <a:pt x="5801" y="1500"/>
                </a:cubicBezTo>
                <a:lnTo>
                  <a:pt x="5801" y="300"/>
                </a:lnTo>
                <a:cubicBezTo>
                  <a:pt x="5801" y="150"/>
                  <a:pt x="5650" y="0"/>
                  <a:pt x="5500" y="0"/>
                </a:cubicBezTo>
                <a:lnTo>
                  <a:pt x="300" y="0"/>
                </a:lnTo>
              </a:path>
            </a:pathLst>
          </a:custGeom>
          <a:noFill/>
          <a:ln>
            <a:noFill/>
            <a:prstDash val="dash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0" tIns="45000" rIns="0" bIns="45000" anchor="ctr">
            <a:spAutoFit/>
          </a:bodyPr>
          <a:lstStyle/>
          <a:p>
            <a:pPr algn="ctr"/>
            <a:r>
              <a:rPr lang="es-ES" sz="1400" b="1" spc="-1" dirty="0" smtClean="0">
                <a:solidFill>
                  <a:srgbClr val="9AAE04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</a:rPr>
              <a:t>Desarrollo</a:t>
            </a:r>
            <a:endParaRPr lang="es-PE" sz="1050" b="1" spc="-1" dirty="0" smtClean="0">
              <a:solidFill>
                <a:srgbClr val="9AAE04"/>
              </a:solidFill>
              <a:uFill>
                <a:solidFill>
                  <a:srgbClr val="FFFFFF"/>
                </a:solidFill>
              </a:uFill>
              <a:latin typeface="Century Gothic" panose="020B0502020202020204" pitchFamily="34" charset="0"/>
            </a:endParaRPr>
          </a:p>
        </p:txBody>
      </p:sp>
      <p:sp>
        <p:nvSpPr>
          <p:cNvPr id="54" name="CustomShape 18"/>
          <p:cNvSpPr/>
          <p:nvPr/>
        </p:nvSpPr>
        <p:spPr>
          <a:xfrm>
            <a:off x="7516643" y="6263041"/>
            <a:ext cx="976616" cy="306323"/>
          </a:xfrm>
          <a:custGeom>
            <a:avLst/>
            <a:gdLst/>
            <a:ahLst/>
            <a:cxnLst/>
            <a:rect l="0" t="0" r="r" b="b"/>
            <a:pathLst>
              <a:path w="5802" h="1801">
                <a:moveTo>
                  <a:pt x="300" y="0"/>
                </a:moveTo>
                <a:cubicBezTo>
                  <a:pt x="150" y="0"/>
                  <a:pt x="0" y="150"/>
                  <a:pt x="0" y="300"/>
                </a:cubicBezTo>
                <a:lnTo>
                  <a:pt x="0" y="1500"/>
                </a:lnTo>
                <a:cubicBezTo>
                  <a:pt x="0" y="1650"/>
                  <a:pt x="150" y="1800"/>
                  <a:pt x="300" y="1800"/>
                </a:cubicBezTo>
                <a:lnTo>
                  <a:pt x="5500" y="1800"/>
                </a:lnTo>
                <a:cubicBezTo>
                  <a:pt x="5650" y="1800"/>
                  <a:pt x="5801" y="1650"/>
                  <a:pt x="5801" y="1500"/>
                </a:cubicBezTo>
                <a:lnTo>
                  <a:pt x="5801" y="300"/>
                </a:lnTo>
                <a:cubicBezTo>
                  <a:pt x="5801" y="150"/>
                  <a:pt x="5650" y="0"/>
                  <a:pt x="5500" y="0"/>
                </a:cubicBezTo>
                <a:lnTo>
                  <a:pt x="300" y="0"/>
                </a:lnTo>
              </a:path>
            </a:pathLst>
          </a:custGeom>
          <a:noFill/>
          <a:ln>
            <a:noFill/>
            <a:prstDash val="dash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0" tIns="45000" rIns="0" bIns="45000" anchor="ctr">
            <a:spAutoFit/>
          </a:bodyPr>
          <a:lstStyle/>
          <a:p>
            <a:pPr algn="ctr"/>
            <a:r>
              <a:rPr lang="es-ES" sz="1400" b="1" spc="-1" dirty="0" smtClean="0">
                <a:solidFill>
                  <a:srgbClr val="9AAE04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</a:rPr>
              <a:t>QA</a:t>
            </a:r>
            <a:endParaRPr lang="es-PE" sz="1050" b="1" spc="-1" dirty="0" smtClean="0">
              <a:solidFill>
                <a:srgbClr val="9AAE04"/>
              </a:solidFill>
              <a:uFill>
                <a:solidFill>
                  <a:srgbClr val="FFFFFF"/>
                </a:solidFill>
              </a:uFill>
              <a:latin typeface="Century Gothic" panose="020B0502020202020204" pitchFamily="34" charset="0"/>
            </a:endParaRPr>
          </a:p>
        </p:txBody>
      </p:sp>
      <p:sp>
        <p:nvSpPr>
          <p:cNvPr id="55" name="CustomShape 18"/>
          <p:cNvSpPr/>
          <p:nvPr/>
        </p:nvSpPr>
        <p:spPr>
          <a:xfrm>
            <a:off x="9459796" y="6236432"/>
            <a:ext cx="1024632" cy="306323"/>
          </a:xfrm>
          <a:custGeom>
            <a:avLst/>
            <a:gdLst/>
            <a:ahLst/>
            <a:cxnLst/>
            <a:rect l="0" t="0" r="r" b="b"/>
            <a:pathLst>
              <a:path w="5802" h="1801">
                <a:moveTo>
                  <a:pt x="300" y="0"/>
                </a:moveTo>
                <a:cubicBezTo>
                  <a:pt x="150" y="0"/>
                  <a:pt x="0" y="150"/>
                  <a:pt x="0" y="300"/>
                </a:cubicBezTo>
                <a:lnTo>
                  <a:pt x="0" y="1500"/>
                </a:lnTo>
                <a:cubicBezTo>
                  <a:pt x="0" y="1650"/>
                  <a:pt x="150" y="1800"/>
                  <a:pt x="300" y="1800"/>
                </a:cubicBezTo>
                <a:lnTo>
                  <a:pt x="5500" y="1800"/>
                </a:lnTo>
                <a:cubicBezTo>
                  <a:pt x="5650" y="1800"/>
                  <a:pt x="5801" y="1650"/>
                  <a:pt x="5801" y="1500"/>
                </a:cubicBezTo>
                <a:lnTo>
                  <a:pt x="5801" y="300"/>
                </a:lnTo>
                <a:cubicBezTo>
                  <a:pt x="5801" y="150"/>
                  <a:pt x="5650" y="0"/>
                  <a:pt x="5500" y="0"/>
                </a:cubicBezTo>
                <a:lnTo>
                  <a:pt x="300" y="0"/>
                </a:lnTo>
              </a:path>
            </a:pathLst>
          </a:custGeom>
          <a:noFill/>
          <a:ln>
            <a:noFill/>
            <a:prstDash val="dash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0" tIns="45000" rIns="0" bIns="45000" anchor="ctr">
            <a:spAutoFit/>
          </a:bodyPr>
          <a:lstStyle/>
          <a:p>
            <a:pPr algn="ctr"/>
            <a:r>
              <a:rPr lang="es-ES" sz="1400" b="1" spc="-1" dirty="0" smtClean="0">
                <a:solidFill>
                  <a:srgbClr val="9AAE04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</a:rPr>
              <a:t>Producción</a:t>
            </a:r>
            <a:endParaRPr lang="es-PE" sz="1050" b="1" spc="-1" dirty="0" smtClean="0">
              <a:solidFill>
                <a:srgbClr val="9AAE04"/>
              </a:solidFill>
              <a:uFill>
                <a:solidFill>
                  <a:srgbClr val="FFFFFF"/>
                </a:solidFill>
              </a:uFill>
              <a:latin typeface="Century Gothic" panose="020B0502020202020204" pitchFamily="34" charset="0"/>
            </a:endParaRPr>
          </a:p>
        </p:txBody>
      </p:sp>
      <p:sp>
        <p:nvSpPr>
          <p:cNvPr id="56" name="Rounded Rectangle 8"/>
          <p:cNvSpPr/>
          <p:nvPr/>
        </p:nvSpPr>
        <p:spPr>
          <a:xfrm flipH="1">
            <a:off x="1765005" y="1336348"/>
            <a:ext cx="10019625" cy="2101040"/>
          </a:xfrm>
          <a:prstGeom prst="roundRect">
            <a:avLst>
              <a:gd name="adj" fmla="val 5033"/>
            </a:avLst>
          </a:prstGeom>
          <a:noFill/>
          <a:ln w="19050">
            <a:solidFill>
              <a:srgbClr val="4E5D7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2968" dirty="0"/>
          </a:p>
        </p:txBody>
      </p:sp>
      <p:grpSp>
        <p:nvGrpSpPr>
          <p:cNvPr id="58" name="Group 35"/>
          <p:cNvGrpSpPr/>
          <p:nvPr/>
        </p:nvGrpSpPr>
        <p:grpSpPr>
          <a:xfrm>
            <a:off x="10293778" y="1816339"/>
            <a:ext cx="1097690" cy="798114"/>
            <a:chOff x="455615" y="4293106"/>
            <a:chExt cx="1461157" cy="1223888"/>
          </a:xfrm>
          <a:solidFill>
            <a:srgbClr val="204ECF"/>
          </a:solidFill>
        </p:grpSpPr>
        <p:sp>
          <p:nvSpPr>
            <p:cNvPr id="59" name="Freeform 78"/>
            <p:cNvSpPr>
              <a:spLocks/>
            </p:cNvSpPr>
            <p:nvPr/>
          </p:nvSpPr>
          <p:spPr bwMode="auto">
            <a:xfrm>
              <a:off x="1356636" y="4293106"/>
              <a:ext cx="234265" cy="234265"/>
            </a:xfrm>
            <a:custGeom>
              <a:avLst/>
              <a:gdLst>
                <a:gd name="T0" fmla="*/ 33 w 66"/>
                <a:gd name="T1" fmla="*/ 0 h 66"/>
                <a:gd name="T2" fmla="*/ 0 w 66"/>
                <a:gd name="T3" fmla="*/ 33 h 66"/>
                <a:gd name="T4" fmla="*/ 33 w 66"/>
                <a:gd name="T5" fmla="*/ 66 h 66"/>
                <a:gd name="T6" fmla="*/ 66 w 66"/>
                <a:gd name="T7" fmla="*/ 33 h 66"/>
                <a:gd name="T8" fmla="*/ 33 w 66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66">
                  <a:moveTo>
                    <a:pt x="33" y="0"/>
                  </a:move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ubicBezTo>
                    <a:pt x="51" y="66"/>
                    <a:pt x="66" y="51"/>
                    <a:pt x="66" y="33"/>
                  </a:cubicBezTo>
                  <a:cubicBezTo>
                    <a:pt x="66" y="14"/>
                    <a:pt x="51" y="0"/>
                    <a:pt x="33" y="0"/>
                  </a:cubicBez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04" tIns="45702" rIns="91404" bIns="4570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 charset="0"/>
                <a:sym typeface="Century Gothic" panose="020B0502020202020204" pitchFamily="34" charset="0"/>
              </a:endParaRPr>
            </a:p>
          </p:txBody>
        </p:sp>
        <p:sp>
          <p:nvSpPr>
            <p:cNvPr id="60" name="Freeform 79"/>
            <p:cNvSpPr>
              <a:spLocks/>
            </p:cNvSpPr>
            <p:nvPr/>
          </p:nvSpPr>
          <p:spPr bwMode="auto">
            <a:xfrm>
              <a:off x="674864" y="4317134"/>
              <a:ext cx="1021158" cy="994127"/>
            </a:xfrm>
            <a:custGeom>
              <a:avLst/>
              <a:gdLst>
                <a:gd name="T0" fmla="*/ 261 w 288"/>
                <a:gd name="T1" fmla="*/ 164 h 280"/>
                <a:gd name="T2" fmla="*/ 258 w 288"/>
                <a:gd name="T3" fmla="*/ 145 h 280"/>
                <a:gd name="T4" fmla="*/ 266 w 288"/>
                <a:gd name="T5" fmla="*/ 145 h 280"/>
                <a:gd name="T6" fmla="*/ 288 w 288"/>
                <a:gd name="T7" fmla="*/ 125 h 280"/>
                <a:gd name="T8" fmla="*/ 267 w 288"/>
                <a:gd name="T9" fmla="*/ 105 h 280"/>
                <a:gd name="T10" fmla="*/ 234 w 288"/>
                <a:gd name="T11" fmla="*/ 104 h 280"/>
                <a:gd name="T12" fmla="*/ 211 w 288"/>
                <a:gd name="T13" fmla="*/ 99 h 280"/>
                <a:gd name="T14" fmla="*/ 197 w 288"/>
                <a:gd name="T15" fmla="*/ 83 h 280"/>
                <a:gd name="T16" fmla="*/ 193 w 288"/>
                <a:gd name="T17" fmla="*/ 65 h 280"/>
                <a:gd name="T18" fmla="*/ 155 w 288"/>
                <a:gd name="T19" fmla="*/ 21 h 280"/>
                <a:gd name="T20" fmla="*/ 49 w 288"/>
                <a:gd name="T21" fmla="*/ 10 h 280"/>
                <a:gd name="T22" fmla="*/ 3 w 288"/>
                <a:gd name="T23" fmla="*/ 68 h 280"/>
                <a:gd name="T24" fmla="*/ 25 w 288"/>
                <a:gd name="T25" fmla="*/ 130 h 280"/>
                <a:gd name="T26" fmla="*/ 70 w 288"/>
                <a:gd name="T27" fmla="*/ 166 h 280"/>
                <a:gd name="T28" fmla="*/ 120 w 288"/>
                <a:gd name="T29" fmla="*/ 245 h 280"/>
                <a:gd name="T30" fmla="*/ 122 w 288"/>
                <a:gd name="T31" fmla="*/ 263 h 280"/>
                <a:gd name="T32" fmla="*/ 142 w 288"/>
                <a:gd name="T33" fmla="*/ 280 h 280"/>
                <a:gd name="T34" fmla="*/ 161 w 288"/>
                <a:gd name="T35" fmla="*/ 261 h 280"/>
                <a:gd name="T36" fmla="*/ 141 w 288"/>
                <a:gd name="T37" fmla="*/ 183 h 280"/>
                <a:gd name="T38" fmla="*/ 88 w 288"/>
                <a:gd name="T39" fmla="*/ 130 h 280"/>
                <a:gd name="T40" fmla="*/ 52 w 288"/>
                <a:gd name="T41" fmla="*/ 100 h 280"/>
                <a:gd name="T42" fmla="*/ 47 w 288"/>
                <a:gd name="T43" fmla="*/ 58 h 280"/>
                <a:gd name="T44" fmla="*/ 65 w 288"/>
                <a:gd name="T45" fmla="*/ 47 h 280"/>
                <a:gd name="T46" fmla="*/ 135 w 288"/>
                <a:gd name="T47" fmla="*/ 55 h 280"/>
                <a:gd name="T48" fmla="*/ 157 w 288"/>
                <a:gd name="T49" fmla="*/ 85 h 280"/>
                <a:gd name="T50" fmla="*/ 173 w 288"/>
                <a:gd name="T51" fmla="*/ 121 h 280"/>
                <a:gd name="T52" fmla="*/ 212 w 288"/>
                <a:gd name="T53" fmla="*/ 140 h 280"/>
                <a:gd name="T54" fmla="*/ 245 w 288"/>
                <a:gd name="T55" fmla="*/ 145 h 280"/>
                <a:gd name="T56" fmla="*/ 249 w 288"/>
                <a:gd name="T57" fmla="*/ 167 h 280"/>
                <a:gd name="T58" fmla="*/ 262 w 288"/>
                <a:gd name="T59" fmla="*/ 166 h 280"/>
                <a:gd name="T60" fmla="*/ 261 w 288"/>
                <a:gd name="T61" fmla="*/ 164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88" h="280">
                  <a:moveTo>
                    <a:pt x="261" y="164"/>
                  </a:moveTo>
                  <a:cubicBezTo>
                    <a:pt x="260" y="158"/>
                    <a:pt x="259" y="152"/>
                    <a:pt x="258" y="145"/>
                  </a:cubicBezTo>
                  <a:cubicBezTo>
                    <a:pt x="261" y="145"/>
                    <a:pt x="264" y="145"/>
                    <a:pt x="266" y="145"/>
                  </a:cubicBezTo>
                  <a:cubicBezTo>
                    <a:pt x="278" y="145"/>
                    <a:pt x="287" y="137"/>
                    <a:pt x="288" y="125"/>
                  </a:cubicBezTo>
                  <a:cubicBezTo>
                    <a:pt x="288" y="114"/>
                    <a:pt x="279" y="105"/>
                    <a:pt x="267" y="105"/>
                  </a:cubicBezTo>
                  <a:cubicBezTo>
                    <a:pt x="256" y="105"/>
                    <a:pt x="245" y="105"/>
                    <a:pt x="234" y="104"/>
                  </a:cubicBezTo>
                  <a:cubicBezTo>
                    <a:pt x="226" y="103"/>
                    <a:pt x="218" y="101"/>
                    <a:pt x="211" y="99"/>
                  </a:cubicBezTo>
                  <a:cubicBezTo>
                    <a:pt x="203" y="97"/>
                    <a:pt x="199" y="91"/>
                    <a:pt x="197" y="83"/>
                  </a:cubicBezTo>
                  <a:cubicBezTo>
                    <a:pt x="196" y="77"/>
                    <a:pt x="195" y="71"/>
                    <a:pt x="193" y="65"/>
                  </a:cubicBezTo>
                  <a:cubicBezTo>
                    <a:pt x="187" y="45"/>
                    <a:pt x="173" y="31"/>
                    <a:pt x="155" y="21"/>
                  </a:cubicBezTo>
                  <a:cubicBezTo>
                    <a:pt x="121" y="4"/>
                    <a:pt x="86" y="0"/>
                    <a:pt x="49" y="10"/>
                  </a:cubicBezTo>
                  <a:cubicBezTo>
                    <a:pt x="21" y="18"/>
                    <a:pt x="6" y="41"/>
                    <a:pt x="3" y="68"/>
                  </a:cubicBezTo>
                  <a:cubicBezTo>
                    <a:pt x="0" y="92"/>
                    <a:pt x="10" y="112"/>
                    <a:pt x="25" y="130"/>
                  </a:cubicBezTo>
                  <a:cubicBezTo>
                    <a:pt x="38" y="144"/>
                    <a:pt x="54" y="156"/>
                    <a:pt x="70" y="166"/>
                  </a:cubicBezTo>
                  <a:cubicBezTo>
                    <a:pt x="100" y="184"/>
                    <a:pt x="116" y="211"/>
                    <a:pt x="120" y="245"/>
                  </a:cubicBezTo>
                  <a:cubicBezTo>
                    <a:pt x="121" y="251"/>
                    <a:pt x="121" y="257"/>
                    <a:pt x="122" y="263"/>
                  </a:cubicBezTo>
                  <a:cubicBezTo>
                    <a:pt x="123" y="273"/>
                    <a:pt x="132" y="280"/>
                    <a:pt x="142" y="280"/>
                  </a:cubicBezTo>
                  <a:cubicBezTo>
                    <a:pt x="152" y="279"/>
                    <a:pt x="161" y="271"/>
                    <a:pt x="161" y="261"/>
                  </a:cubicBezTo>
                  <a:cubicBezTo>
                    <a:pt x="161" y="233"/>
                    <a:pt x="155" y="207"/>
                    <a:pt x="141" y="183"/>
                  </a:cubicBezTo>
                  <a:cubicBezTo>
                    <a:pt x="128" y="161"/>
                    <a:pt x="110" y="144"/>
                    <a:pt x="88" y="130"/>
                  </a:cubicBezTo>
                  <a:cubicBezTo>
                    <a:pt x="75" y="122"/>
                    <a:pt x="62" y="112"/>
                    <a:pt x="52" y="100"/>
                  </a:cubicBezTo>
                  <a:cubicBezTo>
                    <a:pt x="40" y="85"/>
                    <a:pt x="39" y="72"/>
                    <a:pt x="47" y="58"/>
                  </a:cubicBezTo>
                  <a:cubicBezTo>
                    <a:pt x="51" y="51"/>
                    <a:pt x="58" y="48"/>
                    <a:pt x="65" y="47"/>
                  </a:cubicBezTo>
                  <a:cubicBezTo>
                    <a:pt x="89" y="42"/>
                    <a:pt x="113" y="44"/>
                    <a:pt x="135" y="55"/>
                  </a:cubicBezTo>
                  <a:cubicBezTo>
                    <a:pt x="148" y="62"/>
                    <a:pt x="155" y="71"/>
                    <a:pt x="157" y="85"/>
                  </a:cubicBezTo>
                  <a:cubicBezTo>
                    <a:pt x="159" y="99"/>
                    <a:pt x="163" y="111"/>
                    <a:pt x="173" y="121"/>
                  </a:cubicBezTo>
                  <a:cubicBezTo>
                    <a:pt x="184" y="132"/>
                    <a:pt x="197" y="137"/>
                    <a:pt x="212" y="140"/>
                  </a:cubicBezTo>
                  <a:cubicBezTo>
                    <a:pt x="222" y="142"/>
                    <a:pt x="234" y="143"/>
                    <a:pt x="245" y="145"/>
                  </a:cubicBezTo>
                  <a:cubicBezTo>
                    <a:pt x="246" y="152"/>
                    <a:pt x="247" y="160"/>
                    <a:pt x="249" y="167"/>
                  </a:cubicBezTo>
                  <a:cubicBezTo>
                    <a:pt x="252" y="167"/>
                    <a:pt x="257" y="166"/>
                    <a:pt x="262" y="166"/>
                  </a:cubicBezTo>
                  <a:cubicBezTo>
                    <a:pt x="262" y="165"/>
                    <a:pt x="261" y="165"/>
                    <a:pt x="261" y="164"/>
                  </a:cubicBez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04" tIns="45702" rIns="91404" bIns="4570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 charset="0"/>
                <a:sym typeface="Century Gothic" panose="020B0502020202020204" pitchFamily="34" charset="0"/>
              </a:endParaRPr>
            </a:p>
          </p:txBody>
        </p:sp>
        <p:sp>
          <p:nvSpPr>
            <p:cNvPr id="61" name="Freeform 81"/>
            <p:cNvSpPr>
              <a:spLocks/>
            </p:cNvSpPr>
            <p:nvPr/>
          </p:nvSpPr>
          <p:spPr bwMode="auto">
            <a:xfrm>
              <a:off x="455615" y="4910306"/>
              <a:ext cx="591671" cy="606688"/>
            </a:xfrm>
            <a:custGeom>
              <a:avLst/>
              <a:gdLst>
                <a:gd name="T0" fmla="*/ 0 w 167"/>
                <a:gd name="T1" fmla="*/ 86 h 171"/>
                <a:gd name="T2" fmla="*/ 0 w 167"/>
                <a:gd name="T3" fmla="*/ 80 h 171"/>
                <a:gd name="T4" fmla="*/ 1 w 167"/>
                <a:gd name="T5" fmla="*/ 74 h 171"/>
                <a:gd name="T6" fmla="*/ 1 w 167"/>
                <a:gd name="T7" fmla="*/ 69 h 171"/>
                <a:gd name="T8" fmla="*/ 2 w 167"/>
                <a:gd name="T9" fmla="*/ 64 h 171"/>
                <a:gd name="T10" fmla="*/ 12 w 167"/>
                <a:gd name="T11" fmla="*/ 40 h 171"/>
                <a:gd name="T12" fmla="*/ 35 w 167"/>
                <a:gd name="T13" fmla="*/ 16 h 171"/>
                <a:gd name="T14" fmla="*/ 73 w 167"/>
                <a:gd name="T15" fmla="*/ 1 h 171"/>
                <a:gd name="T16" fmla="*/ 78 w 167"/>
                <a:gd name="T17" fmla="*/ 1 h 171"/>
                <a:gd name="T18" fmla="*/ 84 w 167"/>
                <a:gd name="T19" fmla="*/ 0 h 171"/>
                <a:gd name="T20" fmla="*/ 95 w 167"/>
                <a:gd name="T21" fmla="*/ 1 h 171"/>
                <a:gd name="T22" fmla="*/ 117 w 167"/>
                <a:gd name="T23" fmla="*/ 8 h 171"/>
                <a:gd name="T24" fmla="*/ 138 w 167"/>
                <a:gd name="T25" fmla="*/ 21 h 171"/>
                <a:gd name="T26" fmla="*/ 154 w 167"/>
                <a:gd name="T27" fmla="*/ 39 h 171"/>
                <a:gd name="T28" fmla="*/ 164 w 167"/>
                <a:gd name="T29" fmla="*/ 62 h 171"/>
                <a:gd name="T30" fmla="*/ 167 w 167"/>
                <a:gd name="T31" fmla="*/ 86 h 171"/>
                <a:gd name="T32" fmla="*/ 164 w 167"/>
                <a:gd name="T33" fmla="*/ 111 h 171"/>
                <a:gd name="T34" fmla="*/ 153 w 167"/>
                <a:gd name="T35" fmla="*/ 133 h 171"/>
                <a:gd name="T36" fmla="*/ 137 w 167"/>
                <a:gd name="T37" fmla="*/ 151 h 171"/>
                <a:gd name="T38" fmla="*/ 116 w 167"/>
                <a:gd name="T39" fmla="*/ 163 h 171"/>
                <a:gd name="T40" fmla="*/ 73 w 167"/>
                <a:gd name="T41" fmla="*/ 169 h 171"/>
                <a:gd name="T42" fmla="*/ 36 w 167"/>
                <a:gd name="T43" fmla="*/ 156 h 171"/>
                <a:gd name="T44" fmla="*/ 13 w 167"/>
                <a:gd name="T45" fmla="*/ 132 h 171"/>
                <a:gd name="T46" fmla="*/ 3 w 167"/>
                <a:gd name="T47" fmla="*/ 108 h 171"/>
                <a:gd name="T48" fmla="*/ 2 w 167"/>
                <a:gd name="T49" fmla="*/ 103 h 171"/>
                <a:gd name="T50" fmla="*/ 1 w 167"/>
                <a:gd name="T51" fmla="*/ 99 h 171"/>
                <a:gd name="T52" fmla="*/ 0 w 167"/>
                <a:gd name="T53" fmla="*/ 92 h 171"/>
                <a:gd name="T54" fmla="*/ 0 w 167"/>
                <a:gd name="T55" fmla="*/ 86 h 171"/>
                <a:gd name="T56" fmla="*/ 1 w 167"/>
                <a:gd name="T57" fmla="*/ 86 h 171"/>
                <a:gd name="T58" fmla="*/ 1 w 167"/>
                <a:gd name="T59" fmla="*/ 92 h 171"/>
                <a:gd name="T60" fmla="*/ 2 w 167"/>
                <a:gd name="T61" fmla="*/ 99 h 171"/>
                <a:gd name="T62" fmla="*/ 3 w 167"/>
                <a:gd name="T63" fmla="*/ 103 h 171"/>
                <a:gd name="T64" fmla="*/ 4 w 167"/>
                <a:gd name="T65" fmla="*/ 108 h 171"/>
                <a:gd name="T66" fmla="*/ 15 w 167"/>
                <a:gd name="T67" fmla="*/ 131 h 171"/>
                <a:gd name="T68" fmla="*/ 38 w 167"/>
                <a:gd name="T69" fmla="*/ 153 h 171"/>
                <a:gd name="T70" fmla="*/ 73 w 167"/>
                <a:gd name="T71" fmla="*/ 166 h 171"/>
                <a:gd name="T72" fmla="*/ 115 w 167"/>
                <a:gd name="T73" fmla="*/ 159 h 171"/>
                <a:gd name="T74" fmla="*/ 133 w 167"/>
                <a:gd name="T75" fmla="*/ 147 h 171"/>
                <a:gd name="T76" fmla="*/ 148 w 167"/>
                <a:gd name="T77" fmla="*/ 130 h 171"/>
                <a:gd name="T78" fmla="*/ 158 w 167"/>
                <a:gd name="T79" fmla="*/ 109 h 171"/>
                <a:gd name="T80" fmla="*/ 161 w 167"/>
                <a:gd name="T81" fmla="*/ 86 h 171"/>
                <a:gd name="T82" fmla="*/ 157 w 167"/>
                <a:gd name="T83" fmla="*/ 64 h 171"/>
                <a:gd name="T84" fmla="*/ 147 w 167"/>
                <a:gd name="T85" fmla="*/ 43 h 171"/>
                <a:gd name="T86" fmla="*/ 132 w 167"/>
                <a:gd name="T87" fmla="*/ 27 h 171"/>
                <a:gd name="T88" fmla="*/ 114 w 167"/>
                <a:gd name="T89" fmla="*/ 15 h 171"/>
                <a:gd name="T90" fmla="*/ 94 w 167"/>
                <a:gd name="T91" fmla="*/ 9 h 171"/>
                <a:gd name="T92" fmla="*/ 83 w 167"/>
                <a:gd name="T93" fmla="*/ 8 h 171"/>
                <a:gd name="T94" fmla="*/ 74 w 167"/>
                <a:gd name="T95" fmla="*/ 9 h 171"/>
                <a:gd name="T96" fmla="*/ 39 w 167"/>
                <a:gd name="T97" fmla="*/ 21 h 171"/>
                <a:gd name="T98" fmla="*/ 16 w 167"/>
                <a:gd name="T99" fmla="*/ 43 h 171"/>
                <a:gd name="T100" fmla="*/ 5 w 167"/>
                <a:gd name="T101" fmla="*/ 65 h 171"/>
                <a:gd name="T102" fmla="*/ 3 w 167"/>
                <a:gd name="T103" fmla="*/ 70 h 171"/>
                <a:gd name="T104" fmla="*/ 3 w 167"/>
                <a:gd name="T105" fmla="*/ 74 h 171"/>
                <a:gd name="T106" fmla="*/ 1 w 167"/>
                <a:gd name="T107" fmla="*/ 81 h 171"/>
                <a:gd name="T108" fmla="*/ 1 w 167"/>
                <a:gd name="T109" fmla="*/ 86 h 171"/>
                <a:gd name="T110" fmla="*/ 0 w 167"/>
                <a:gd name="T111" fmla="*/ 86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7" h="171">
                  <a:moveTo>
                    <a:pt x="0" y="86"/>
                  </a:moveTo>
                  <a:cubicBezTo>
                    <a:pt x="0" y="86"/>
                    <a:pt x="0" y="84"/>
                    <a:pt x="0" y="80"/>
                  </a:cubicBezTo>
                  <a:cubicBezTo>
                    <a:pt x="0" y="79"/>
                    <a:pt x="0" y="76"/>
                    <a:pt x="1" y="74"/>
                  </a:cubicBezTo>
                  <a:cubicBezTo>
                    <a:pt x="1" y="72"/>
                    <a:pt x="1" y="71"/>
                    <a:pt x="1" y="69"/>
                  </a:cubicBezTo>
                  <a:cubicBezTo>
                    <a:pt x="1" y="68"/>
                    <a:pt x="2" y="66"/>
                    <a:pt x="2" y="64"/>
                  </a:cubicBezTo>
                  <a:cubicBezTo>
                    <a:pt x="4" y="57"/>
                    <a:pt x="7" y="49"/>
                    <a:pt x="12" y="40"/>
                  </a:cubicBezTo>
                  <a:cubicBezTo>
                    <a:pt x="17" y="32"/>
                    <a:pt x="25" y="23"/>
                    <a:pt x="35" y="16"/>
                  </a:cubicBezTo>
                  <a:cubicBezTo>
                    <a:pt x="45" y="9"/>
                    <a:pt x="58" y="3"/>
                    <a:pt x="73" y="1"/>
                  </a:cubicBezTo>
                  <a:cubicBezTo>
                    <a:pt x="74" y="1"/>
                    <a:pt x="76" y="1"/>
                    <a:pt x="78" y="1"/>
                  </a:cubicBezTo>
                  <a:cubicBezTo>
                    <a:pt x="80" y="1"/>
                    <a:pt x="82" y="0"/>
                    <a:pt x="84" y="0"/>
                  </a:cubicBezTo>
                  <a:cubicBezTo>
                    <a:pt x="87" y="1"/>
                    <a:pt x="91" y="1"/>
                    <a:pt x="95" y="1"/>
                  </a:cubicBezTo>
                  <a:cubicBezTo>
                    <a:pt x="103" y="2"/>
                    <a:pt x="110" y="5"/>
                    <a:pt x="117" y="8"/>
                  </a:cubicBezTo>
                  <a:cubicBezTo>
                    <a:pt x="124" y="11"/>
                    <a:pt x="131" y="15"/>
                    <a:pt x="138" y="21"/>
                  </a:cubicBezTo>
                  <a:cubicBezTo>
                    <a:pt x="144" y="26"/>
                    <a:pt x="149" y="32"/>
                    <a:pt x="154" y="39"/>
                  </a:cubicBezTo>
                  <a:cubicBezTo>
                    <a:pt x="158" y="46"/>
                    <a:pt x="162" y="54"/>
                    <a:pt x="164" y="62"/>
                  </a:cubicBezTo>
                  <a:cubicBezTo>
                    <a:pt x="166" y="70"/>
                    <a:pt x="167" y="78"/>
                    <a:pt x="167" y="86"/>
                  </a:cubicBezTo>
                  <a:cubicBezTo>
                    <a:pt x="167" y="94"/>
                    <a:pt x="166" y="103"/>
                    <a:pt x="164" y="111"/>
                  </a:cubicBezTo>
                  <a:cubicBezTo>
                    <a:pt x="161" y="119"/>
                    <a:pt x="157" y="126"/>
                    <a:pt x="153" y="133"/>
                  </a:cubicBezTo>
                  <a:cubicBezTo>
                    <a:pt x="148" y="140"/>
                    <a:pt x="143" y="146"/>
                    <a:pt x="137" y="151"/>
                  </a:cubicBezTo>
                  <a:cubicBezTo>
                    <a:pt x="130" y="156"/>
                    <a:pt x="124" y="160"/>
                    <a:pt x="116" y="163"/>
                  </a:cubicBezTo>
                  <a:cubicBezTo>
                    <a:pt x="102" y="169"/>
                    <a:pt x="87" y="171"/>
                    <a:pt x="73" y="169"/>
                  </a:cubicBezTo>
                  <a:cubicBezTo>
                    <a:pt x="59" y="168"/>
                    <a:pt x="46" y="162"/>
                    <a:pt x="36" y="156"/>
                  </a:cubicBezTo>
                  <a:cubicBezTo>
                    <a:pt x="26" y="149"/>
                    <a:pt x="18" y="140"/>
                    <a:pt x="13" y="132"/>
                  </a:cubicBezTo>
                  <a:cubicBezTo>
                    <a:pt x="8" y="123"/>
                    <a:pt x="5" y="115"/>
                    <a:pt x="3" y="108"/>
                  </a:cubicBezTo>
                  <a:cubicBezTo>
                    <a:pt x="2" y="107"/>
                    <a:pt x="2" y="105"/>
                    <a:pt x="2" y="103"/>
                  </a:cubicBezTo>
                  <a:cubicBezTo>
                    <a:pt x="1" y="102"/>
                    <a:pt x="1" y="100"/>
                    <a:pt x="1" y="99"/>
                  </a:cubicBezTo>
                  <a:cubicBezTo>
                    <a:pt x="1" y="96"/>
                    <a:pt x="0" y="94"/>
                    <a:pt x="0" y="92"/>
                  </a:cubicBezTo>
                  <a:cubicBezTo>
                    <a:pt x="0" y="88"/>
                    <a:pt x="0" y="86"/>
                    <a:pt x="0" y="86"/>
                  </a:cubicBezTo>
                  <a:cubicBezTo>
                    <a:pt x="1" y="86"/>
                    <a:pt x="1" y="86"/>
                    <a:pt x="1" y="86"/>
                  </a:cubicBezTo>
                  <a:cubicBezTo>
                    <a:pt x="1" y="86"/>
                    <a:pt x="1" y="88"/>
                    <a:pt x="1" y="92"/>
                  </a:cubicBezTo>
                  <a:cubicBezTo>
                    <a:pt x="1" y="94"/>
                    <a:pt x="2" y="96"/>
                    <a:pt x="2" y="99"/>
                  </a:cubicBezTo>
                  <a:cubicBezTo>
                    <a:pt x="2" y="100"/>
                    <a:pt x="3" y="102"/>
                    <a:pt x="3" y="103"/>
                  </a:cubicBezTo>
                  <a:cubicBezTo>
                    <a:pt x="3" y="105"/>
                    <a:pt x="4" y="106"/>
                    <a:pt x="4" y="108"/>
                  </a:cubicBezTo>
                  <a:cubicBezTo>
                    <a:pt x="6" y="115"/>
                    <a:pt x="9" y="123"/>
                    <a:pt x="15" y="131"/>
                  </a:cubicBezTo>
                  <a:cubicBezTo>
                    <a:pt x="20" y="139"/>
                    <a:pt x="28" y="147"/>
                    <a:pt x="38" y="153"/>
                  </a:cubicBezTo>
                  <a:cubicBezTo>
                    <a:pt x="48" y="160"/>
                    <a:pt x="60" y="164"/>
                    <a:pt x="73" y="166"/>
                  </a:cubicBezTo>
                  <a:cubicBezTo>
                    <a:pt x="87" y="167"/>
                    <a:pt x="101" y="165"/>
                    <a:pt x="115" y="159"/>
                  </a:cubicBezTo>
                  <a:cubicBezTo>
                    <a:pt x="121" y="156"/>
                    <a:pt x="128" y="152"/>
                    <a:pt x="133" y="147"/>
                  </a:cubicBezTo>
                  <a:cubicBezTo>
                    <a:pt x="139" y="142"/>
                    <a:pt x="144" y="136"/>
                    <a:pt x="148" y="130"/>
                  </a:cubicBezTo>
                  <a:cubicBezTo>
                    <a:pt x="152" y="124"/>
                    <a:pt x="156" y="117"/>
                    <a:pt x="158" y="109"/>
                  </a:cubicBezTo>
                  <a:cubicBezTo>
                    <a:pt x="160" y="102"/>
                    <a:pt x="161" y="94"/>
                    <a:pt x="161" y="86"/>
                  </a:cubicBezTo>
                  <a:cubicBezTo>
                    <a:pt x="161" y="79"/>
                    <a:pt x="160" y="71"/>
                    <a:pt x="157" y="64"/>
                  </a:cubicBezTo>
                  <a:cubicBezTo>
                    <a:pt x="155" y="56"/>
                    <a:pt x="152" y="49"/>
                    <a:pt x="147" y="43"/>
                  </a:cubicBezTo>
                  <a:cubicBezTo>
                    <a:pt x="143" y="37"/>
                    <a:pt x="138" y="31"/>
                    <a:pt x="132" y="27"/>
                  </a:cubicBezTo>
                  <a:cubicBezTo>
                    <a:pt x="127" y="22"/>
                    <a:pt x="120" y="18"/>
                    <a:pt x="114" y="15"/>
                  </a:cubicBezTo>
                  <a:cubicBezTo>
                    <a:pt x="107" y="12"/>
                    <a:pt x="100" y="10"/>
                    <a:pt x="94" y="9"/>
                  </a:cubicBezTo>
                  <a:cubicBezTo>
                    <a:pt x="91" y="9"/>
                    <a:pt x="87" y="9"/>
                    <a:pt x="83" y="8"/>
                  </a:cubicBezTo>
                  <a:cubicBezTo>
                    <a:pt x="80" y="8"/>
                    <a:pt x="77" y="9"/>
                    <a:pt x="74" y="9"/>
                  </a:cubicBezTo>
                  <a:cubicBezTo>
                    <a:pt x="60" y="10"/>
                    <a:pt x="48" y="15"/>
                    <a:pt x="39" y="21"/>
                  </a:cubicBezTo>
                  <a:cubicBezTo>
                    <a:pt x="29" y="27"/>
                    <a:pt x="21" y="35"/>
                    <a:pt x="16" y="43"/>
                  </a:cubicBezTo>
                  <a:cubicBezTo>
                    <a:pt x="10" y="50"/>
                    <a:pt x="7" y="58"/>
                    <a:pt x="5" y="65"/>
                  </a:cubicBezTo>
                  <a:cubicBezTo>
                    <a:pt x="4" y="67"/>
                    <a:pt x="4" y="68"/>
                    <a:pt x="3" y="70"/>
                  </a:cubicBezTo>
                  <a:cubicBezTo>
                    <a:pt x="3" y="71"/>
                    <a:pt x="3" y="72"/>
                    <a:pt x="3" y="74"/>
                  </a:cubicBezTo>
                  <a:cubicBezTo>
                    <a:pt x="2" y="76"/>
                    <a:pt x="2" y="79"/>
                    <a:pt x="1" y="81"/>
                  </a:cubicBezTo>
                  <a:cubicBezTo>
                    <a:pt x="1" y="84"/>
                    <a:pt x="1" y="86"/>
                    <a:pt x="1" y="86"/>
                  </a:cubicBezTo>
                  <a:lnTo>
                    <a:pt x="0" y="8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04" tIns="45702" rIns="91404" bIns="4570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 charset="0"/>
                <a:sym typeface="Century Gothic" panose="020B0502020202020204" pitchFamily="34" charset="0"/>
              </a:endParaRPr>
            </a:p>
          </p:txBody>
        </p:sp>
        <p:sp>
          <p:nvSpPr>
            <p:cNvPr id="62" name="Freeform 83"/>
            <p:cNvSpPr>
              <a:spLocks/>
            </p:cNvSpPr>
            <p:nvPr/>
          </p:nvSpPr>
          <p:spPr bwMode="auto">
            <a:xfrm>
              <a:off x="1320596" y="4910306"/>
              <a:ext cx="596176" cy="606688"/>
            </a:xfrm>
            <a:custGeom>
              <a:avLst/>
              <a:gdLst>
                <a:gd name="T0" fmla="*/ 0 w 168"/>
                <a:gd name="T1" fmla="*/ 86 h 171"/>
                <a:gd name="T2" fmla="*/ 0 w 168"/>
                <a:gd name="T3" fmla="*/ 80 h 171"/>
                <a:gd name="T4" fmla="*/ 1 w 168"/>
                <a:gd name="T5" fmla="*/ 74 h 171"/>
                <a:gd name="T6" fmla="*/ 1 w 168"/>
                <a:gd name="T7" fmla="*/ 69 h 171"/>
                <a:gd name="T8" fmla="*/ 3 w 168"/>
                <a:gd name="T9" fmla="*/ 64 h 171"/>
                <a:gd name="T10" fmla="*/ 12 w 168"/>
                <a:gd name="T11" fmla="*/ 40 h 171"/>
                <a:gd name="T12" fmla="*/ 35 w 168"/>
                <a:gd name="T13" fmla="*/ 16 h 171"/>
                <a:gd name="T14" fmla="*/ 73 w 168"/>
                <a:gd name="T15" fmla="*/ 1 h 171"/>
                <a:gd name="T16" fmla="*/ 78 w 168"/>
                <a:gd name="T17" fmla="*/ 1 h 171"/>
                <a:gd name="T18" fmla="*/ 84 w 168"/>
                <a:gd name="T19" fmla="*/ 0 h 171"/>
                <a:gd name="T20" fmla="*/ 95 w 168"/>
                <a:gd name="T21" fmla="*/ 1 h 171"/>
                <a:gd name="T22" fmla="*/ 118 w 168"/>
                <a:gd name="T23" fmla="*/ 8 h 171"/>
                <a:gd name="T24" fmla="*/ 138 w 168"/>
                <a:gd name="T25" fmla="*/ 21 h 171"/>
                <a:gd name="T26" fmla="*/ 154 w 168"/>
                <a:gd name="T27" fmla="*/ 39 h 171"/>
                <a:gd name="T28" fmla="*/ 164 w 168"/>
                <a:gd name="T29" fmla="*/ 62 h 171"/>
                <a:gd name="T30" fmla="*/ 168 w 168"/>
                <a:gd name="T31" fmla="*/ 86 h 171"/>
                <a:gd name="T32" fmla="*/ 164 w 168"/>
                <a:gd name="T33" fmla="*/ 111 h 171"/>
                <a:gd name="T34" fmla="*/ 153 w 168"/>
                <a:gd name="T35" fmla="*/ 133 h 171"/>
                <a:gd name="T36" fmla="*/ 137 w 168"/>
                <a:gd name="T37" fmla="*/ 151 h 171"/>
                <a:gd name="T38" fmla="*/ 117 w 168"/>
                <a:gd name="T39" fmla="*/ 163 h 171"/>
                <a:gd name="T40" fmla="*/ 73 w 168"/>
                <a:gd name="T41" fmla="*/ 169 h 171"/>
                <a:gd name="T42" fmla="*/ 36 w 168"/>
                <a:gd name="T43" fmla="*/ 156 h 171"/>
                <a:gd name="T44" fmla="*/ 13 w 168"/>
                <a:gd name="T45" fmla="*/ 132 h 171"/>
                <a:gd name="T46" fmla="*/ 3 w 168"/>
                <a:gd name="T47" fmla="*/ 108 h 171"/>
                <a:gd name="T48" fmla="*/ 2 w 168"/>
                <a:gd name="T49" fmla="*/ 103 h 171"/>
                <a:gd name="T50" fmla="*/ 1 w 168"/>
                <a:gd name="T51" fmla="*/ 99 h 171"/>
                <a:gd name="T52" fmla="*/ 1 w 168"/>
                <a:gd name="T53" fmla="*/ 92 h 171"/>
                <a:gd name="T54" fmla="*/ 0 w 168"/>
                <a:gd name="T55" fmla="*/ 86 h 171"/>
                <a:gd name="T56" fmla="*/ 1 w 168"/>
                <a:gd name="T57" fmla="*/ 86 h 171"/>
                <a:gd name="T58" fmla="*/ 2 w 168"/>
                <a:gd name="T59" fmla="*/ 92 h 171"/>
                <a:gd name="T60" fmla="*/ 2 w 168"/>
                <a:gd name="T61" fmla="*/ 99 h 171"/>
                <a:gd name="T62" fmla="*/ 3 w 168"/>
                <a:gd name="T63" fmla="*/ 103 h 171"/>
                <a:gd name="T64" fmla="*/ 5 w 168"/>
                <a:gd name="T65" fmla="*/ 108 h 171"/>
                <a:gd name="T66" fmla="*/ 15 w 168"/>
                <a:gd name="T67" fmla="*/ 131 h 171"/>
                <a:gd name="T68" fmla="*/ 38 w 168"/>
                <a:gd name="T69" fmla="*/ 153 h 171"/>
                <a:gd name="T70" fmla="*/ 74 w 168"/>
                <a:gd name="T71" fmla="*/ 166 h 171"/>
                <a:gd name="T72" fmla="*/ 115 w 168"/>
                <a:gd name="T73" fmla="*/ 159 h 171"/>
                <a:gd name="T74" fmla="*/ 134 w 168"/>
                <a:gd name="T75" fmla="*/ 147 h 171"/>
                <a:gd name="T76" fmla="*/ 149 w 168"/>
                <a:gd name="T77" fmla="*/ 130 h 171"/>
                <a:gd name="T78" fmla="*/ 158 w 168"/>
                <a:gd name="T79" fmla="*/ 109 h 171"/>
                <a:gd name="T80" fmla="*/ 161 w 168"/>
                <a:gd name="T81" fmla="*/ 86 h 171"/>
                <a:gd name="T82" fmla="*/ 158 w 168"/>
                <a:gd name="T83" fmla="*/ 64 h 171"/>
                <a:gd name="T84" fmla="*/ 148 w 168"/>
                <a:gd name="T85" fmla="*/ 43 h 171"/>
                <a:gd name="T86" fmla="*/ 133 w 168"/>
                <a:gd name="T87" fmla="*/ 27 h 171"/>
                <a:gd name="T88" fmla="*/ 114 w 168"/>
                <a:gd name="T89" fmla="*/ 15 h 171"/>
                <a:gd name="T90" fmla="*/ 94 w 168"/>
                <a:gd name="T91" fmla="*/ 9 h 171"/>
                <a:gd name="T92" fmla="*/ 84 w 168"/>
                <a:gd name="T93" fmla="*/ 8 h 171"/>
                <a:gd name="T94" fmla="*/ 74 w 168"/>
                <a:gd name="T95" fmla="*/ 9 h 171"/>
                <a:gd name="T96" fmla="*/ 39 w 168"/>
                <a:gd name="T97" fmla="*/ 21 h 171"/>
                <a:gd name="T98" fmla="*/ 16 w 168"/>
                <a:gd name="T99" fmla="*/ 43 h 171"/>
                <a:gd name="T100" fmla="*/ 5 w 168"/>
                <a:gd name="T101" fmla="*/ 65 h 171"/>
                <a:gd name="T102" fmla="*/ 4 w 168"/>
                <a:gd name="T103" fmla="*/ 70 h 171"/>
                <a:gd name="T104" fmla="*/ 3 w 168"/>
                <a:gd name="T105" fmla="*/ 74 h 171"/>
                <a:gd name="T106" fmla="*/ 2 w 168"/>
                <a:gd name="T107" fmla="*/ 81 h 171"/>
                <a:gd name="T108" fmla="*/ 1 w 168"/>
                <a:gd name="T109" fmla="*/ 86 h 171"/>
                <a:gd name="T110" fmla="*/ 0 w 168"/>
                <a:gd name="T111" fmla="*/ 86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8" h="171">
                  <a:moveTo>
                    <a:pt x="0" y="86"/>
                  </a:moveTo>
                  <a:cubicBezTo>
                    <a:pt x="0" y="86"/>
                    <a:pt x="0" y="84"/>
                    <a:pt x="0" y="80"/>
                  </a:cubicBezTo>
                  <a:cubicBezTo>
                    <a:pt x="0" y="79"/>
                    <a:pt x="1" y="76"/>
                    <a:pt x="1" y="74"/>
                  </a:cubicBezTo>
                  <a:cubicBezTo>
                    <a:pt x="1" y="72"/>
                    <a:pt x="1" y="71"/>
                    <a:pt x="1" y="69"/>
                  </a:cubicBezTo>
                  <a:cubicBezTo>
                    <a:pt x="2" y="68"/>
                    <a:pt x="2" y="66"/>
                    <a:pt x="3" y="64"/>
                  </a:cubicBezTo>
                  <a:cubicBezTo>
                    <a:pt x="4" y="57"/>
                    <a:pt x="7" y="49"/>
                    <a:pt x="12" y="40"/>
                  </a:cubicBezTo>
                  <a:cubicBezTo>
                    <a:pt x="18" y="32"/>
                    <a:pt x="25" y="23"/>
                    <a:pt x="35" y="16"/>
                  </a:cubicBezTo>
                  <a:cubicBezTo>
                    <a:pt x="46" y="9"/>
                    <a:pt x="59" y="3"/>
                    <a:pt x="73" y="1"/>
                  </a:cubicBezTo>
                  <a:cubicBezTo>
                    <a:pt x="75" y="1"/>
                    <a:pt x="77" y="1"/>
                    <a:pt x="78" y="1"/>
                  </a:cubicBezTo>
                  <a:cubicBezTo>
                    <a:pt x="80" y="1"/>
                    <a:pt x="82" y="0"/>
                    <a:pt x="84" y="0"/>
                  </a:cubicBezTo>
                  <a:cubicBezTo>
                    <a:pt x="88" y="1"/>
                    <a:pt x="91" y="1"/>
                    <a:pt x="95" y="1"/>
                  </a:cubicBezTo>
                  <a:cubicBezTo>
                    <a:pt x="103" y="2"/>
                    <a:pt x="110" y="5"/>
                    <a:pt x="118" y="8"/>
                  </a:cubicBezTo>
                  <a:cubicBezTo>
                    <a:pt x="125" y="11"/>
                    <a:pt x="132" y="15"/>
                    <a:pt x="138" y="21"/>
                  </a:cubicBezTo>
                  <a:cubicBezTo>
                    <a:pt x="144" y="26"/>
                    <a:pt x="149" y="32"/>
                    <a:pt x="154" y="39"/>
                  </a:cubicBezTo>
                  <a:cubicBezTo>
                    <a:pt x="159" y="46"/>
                    <a:pt x="162" y="54"/>
                    <a:pt x="164" y="62"/>
                  </a:cubicBezTo>
                  <a:cubicBezTo>
                    <a:pt x="167" y="70"/>
                    <a:pt x="168" y="78"/>
                    <a:pt x="168" y="86"/>
                  </a:cubicBezTo>
                  <a:cubicBezTo>
                    <a:pt x="168" y="94"/>
                    <a:pt x="166" y="103"/>
                    <a:pt x="164" y="111"/>
                  </a:cubicBezTo>
                  <a:cubicBezTo>
                    <a:pt x="161" y="119"/>
                    <a:pt x="158" y="126"/>
                    <a:pt x="153" y="133"/>
                  </a:cubicBezTo>
                  <a:cubicBezTo>
                    <a:pt x="149" y="140"/>
                    <a:pt x="143" y="146"/>
                    <a:pt x="137" y="151"/>
                  </a:cubicBezTo>
                  <a:cubicBezTo>
                    <a:pt x="131" y="156"/>
                    <a:pt x="124" y="160"/>
                    <a:pt x="117" y="163"/>
                  </a:cubicBezTo>
                  <a:cubicBezTo>
                    <a:pt x="103" y="169"/>
                    <a:pt x="87" y="171"/>
                    <a:pt x="73" y="169"/>
                  </a:cubicBezTo>
                  <a:cubicBezTo>
                    <a:pt x="59" y="168"/>
                    <a:pt x="47" y="162"/>
                    <a:pt x="36" y="156"/>
                  </a:cubicBezTo>
                  <a:cubicBezTo>
                    <a:pt x="26" y="149"/>
                    <a:pt x="19" y="140"/>
                    <a:pt x="13" y="132"/>
                  </a:cubicBezTo>
                  <a:cubicBezTo>
                    <a:pt x="8" y="123"/>
                    <a:pt x="5" y="115"/>
                    <a:pt x="3" y="108"/>
                  </a:cubicBezTo>
                  <a:cubicBezTo>
                    <a:pt x="3" y="107"/>
                    <a:pt x="2" y="105"/>
                    <a:pt x="2" y="103"/>
                  </a:cubicBezTo>
                  <a:cubicBezTo>
                    <a:pt x="2" y="102"/>
                    <a:pt x="2" y="100"/>
                    <a:pt x="1" y="99"/>
                  </a:cubicBezTo>
                  <a:cubicBezTo>
                    <a:pt x="1" y="96"/>
                    <a:pt x="1" y="94"/>
                    <a:pt x="1" y="92"/>
                  </a:cubicBezTo>
                  <a:cubicBezTo>
                    <a:pt x="1" y="88"/>
                    <a:pt x="0" y="86"/>
                    <a:pt x="0" y="86"/>
                  </a:cubicBezTo>
                  <a:cubicBezTo>
                    <a:pt x="1" y="86"/>
                    <a:pt x="1" y="86"/>
                    <a:pt x="1" y="86"/>
                  </a:cubicBezTo>
                  <a:cubicBezTo>
                    <a:pt x="1" y="86"/>
                    <a:pt x="1" y="88"/>
                    <a:pt x="2" y="92"/>
                  </a:cubicBezTo>
                  <a:cubicBezTo>
                    <a:pt x="2" y="94"/>
                    <a:pt x="2" y="96"/>
                    <a:pt x="2" y="99"/>
                  </a:cubicBezTo>
                  <a:cubicBezTo>
                    <a:pt x="3" y="100"/>
                    <a:pt x="3" y="102"/>
                    <a:pt x="3" y="103"/>
                  </a:cubicBezTo>
                  <a:cubicBezTo>
                    <a:pt x="4" y="105"/>
                    <a:pt x="4" y="106"/>
                    <a:pt x="5" y="108"/>
                  </a:cubicBezTo>
                  <a:cubicBezTo>
                    <a:pt x="7" y="115"/>
                    <a:pt x="10" y="123"/>
                    <a:pt x="15" y="131"/>
                  </a:cubicBezTo>
                  <a:cubicBezTo>
                    <a:pt x="21" y="139"/>
                    <a:pt x="28" y="147"/>
                    <a:pt x="38" y="153"/>
                  </a:cubicBezTo>
                  <a:cubicBezTo>
                    <a:pt x="48" y="160"/>
                    <a:pt x="60" y="164"/>
                    <a:pt x="74" y="166"/>
                  </a:cubicBezTo>
                  <a:cubicBezTo>
                    <a:pt x="87" y="167"/>
                    <a:pt x="102" y="165"/>
                    <a:pt x="115" y="159"/>
                  </a:cubicBezTo>
                  <a:cubicBezTo>
                    <a:pt x="122" y="156"/>
                    <a:pt x="128" y="152"/>
                    <a:pt x="134" y="147"/>
                  </a:cubicBezTo>
                  <a:cubicBezTo>
                    <a:pt x="139" y="142"/>
                    <a:pt x="144" y="136"/>
                    <a:pt x="149" y="130"/>
                  </a:cubicBezTo>
                  <a:cubicBezTo>
                    <a:pt x="153" y="124"/>
                    <a:pt x="156" y="117"/>
                    <a:pt x="158" y="109"/>
                  </a:cubicBezTo>
                  <a:cubicBezTo>
                    <a:pt x="160" y="102"/>
                    <a:pt x="161" y="94"/>
                    <a:pt x="161" y="86"/>
                  </a:cubicBezTo>
                  <a:cubicBezTo>
                    <a:pt x="161" y="79"/>
                    <a:pt x="160" y="71"/>
                    <a:pt x="158" y="64"/>
                  </a:cubicBezTo>
                  <a:cubicBezTo>
                    <a:pt x="155" y="56"/>
                    <a:pt x="152" y="49"/>
                    <a:pt x="148" y="43"/>
                  </a:cubicBezTo>
                  <a:cubicBezTo>
                    <a:pt x="143" y="37"/>
                    <a:pt x="138" y="31"/>
                    <a:pt x="133" y="27"/>
                  </a:cubicBezTo>
                  <a:cubicBezTo>
                    <a:pt x="127" y="22"/>
                    <a:pt x="121" y="18"/>
                    <a:pt x="114" y="15"/>
                  </a:cubicBezTo>
                  <a:cubicBezTo>
                    <a:pt x="108" y="12"/>
                    <a:pt x="101" y="10"/>
                    <a:pt x="94" y="9"/>
                  </a:cubicBezTo>
                  <a:cubicBezTo>
                    <a:pt x="91" y="9"/>
                    <a:pt x="87" y="9"/>
                    <a:pt x="84" y="8"/>
                  </a:cubicBezTo>
                  <a:cubicBezTo>
                    <a:pt x="81" y="8"/>
                    <a:pt x="77" y="9"/>
                    <a:pt x="74" y="9"/>
                  </a:cubicBezTo>
                  <a:cubicBezTo>
                    <a:pt x="61" y="10"/>
                    <a:pt x="49" y="15"/>
                    <a:pt x="39" y="21"/>
                  </a:cubicBezTo>
                  <a:cubicBezTo>
                    <a:pt x="29" y="27"/>
                    <a:pt x="22" y="35"/>
                    <a:pt x="16" y="43"/>
                  </a:cubicBezTo>
                  <a:cubicBezTo>
                    <a:pt x="11" y="50"/>
                    <a:pt x="7" y="58"/>
                    <a:pt x="5" y="65"/>
                  </a:cubicBezTo>
                  <a:cubicBezTo>
                    <a:pt x="5" y="67"/>
                    <a:pt x="4" y="68"/>
                    <a:pt x="4" y="70"/>
                  </a:cubicBezTo>
                  <a:cubicBezTo>
                    <a:pt x="3" y="71"/>
                    <a:pt x="3" y="72"/>
                    <a:pt x="3" y="74"/>
                  </a:cubicBezTo>
                  <a:cubicBezTo>
                    <a:pt x="2" y="76"/>
                    <a:pt x="2" y="79"/>
                    <a:pt x="2" y="81"/>
                  </a:cubicBezTo>
                  <a:cubicBezTo>
                    <a:pt x="1" y="84"/>
                    <a:pt x="1" y="86"/>
                    <a:pt x="1" y="86"/>
                  </a:cubicBezTo>
                  <a:lnTo>
                    <a:pt x="0" y="8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04" tIns="45702" rIns="91404" bIns="4570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 charset="0"/>
                <a:sym typeface="Century Gothic" panose="020B0502020202020204" pitchFamily="34" charset="0"/>
              </a:endParaRPr>
            </a:p>
          </p:txBody>
        </p:sp>
      </p:grpSp>
      <p:sp>
        <p:nvSpPr>
          <p:cNvPr id="63" name="CustomShape 18"/>
          <p:cNvSpPr/>
          <p:nvPr/>
        </p:nvSpPr>
        <p:spPr>
          <a:xfrm>
            <a:off x="344972" y="5220226"/>
            <a:ext cx="1783495" cy="460211"/>
          </a:xfrm>
          <a:custGeom>
            <a:avLst/>
            <a:gdLst/>
            <a:ahLst/>
            <a:cxnLst/>
            <a:rect l="0" t="0" r="r" b="b"/>
            <a:pathLst>
              <a:path w="5802" h="1801">
                <a:moveTo>
                  <a:pt x="300" y="0"/>
                </a:moveTo>
                <a:cubicBezTo>
                  <a:pt x="150" y="0"/>
                  <a:pt x="0" y="150"/>
                  <a:pt x="0" y="300"/>
                </a:cubicBezTo>
                <a:lnTo>
                  <a:pt x="0" y="1500"/>
                </a:lnTo>
                <a:cubicBezTo>
                  <a:pt x="0" y="1650"/>
                  <a:pt x="150" y="1800"/>
                  <a:pt x="300" y="1800"/>
                </a:cubicBezTo>
                <a:lnTo>
                  <a:pt x="5500" y="1800"/>
                </a:lnTo>
                <a:cubicBezTo>
                  <a:pt x="5650" y="1800"/>
                  <a:pt x="5801" y="1650"/>
                  <a:pt x="5801" y="1500"/>
                </a:cubicBezTo>
                <a:lnTo>
                  <a:pt x="5801" y="300"/>
                </a:lnTo>
                <a:cubicBezTo>
                  <a:pt x="5801" y="150"/>
                  <a:pt x="5650" y="0"/>
                  <a:pt x="5500" y="0"/>
                </a:cubicBezTo>
                <a:lnTo>
                  <a:pt x="300" y="0"/>
                </a:lnTo>
              </a:path>
            </a:pathLst>
          </a:custGeom>
          <a:solidFill>
            <a:srgbClr val="FFFFFF"/>
          </a:solidFill>
          <a:ln>
            <a:noFill/>
            <a:prstDash val="dash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0" tIns="45000" rIns="0" bIns="45000" anchor="ctr">
            <a:spAutoFit/>
          </a:bodyPr>
          <a:lstStyle/>
          <a:p>
            <a:pPr algn="ctr"/>
            <a:r>
              <a:rPr lang="es-PE" sz="2400" b="1" spc="-1" dirty="0" smtClean="0">
                <a:solidFill>
                  <a:srgbClr val="357FC2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</a:rPr>
              <a:t>Tecnología</a:t>
            </a:r>
          </a:p>
        </p:txBody>
      </p:sp>
      <p:pic>
        <p:nvPicPr>
          <p:cNvPr id="68" name="Picture 2" descr="Resultado de imagen para devops 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8417" y="1337926"/>
            <a:ext cx="1748108" cy="1748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Rectángulo redondeado 71"/>
          <p:cNvSpPr/>
          <p:nvPr/>
        </p:nvSpPr>
        <p:spPr>
          <a:xfrm>
            <a:off x="1827003" y="3662650"/>
            <a:ext cx="1506806" cy="608976"/>
          </a:xfrm>
          <a:prstGeom prst="roundRect">
            <a:avLst/>
          </a:prstGeom>
          <a:solidFill>
            <a:srgbClr val="357F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b="1" dirty="0" smtClean="0"/>
              <a:t>Gobierno</a:t>
            </a:r>
            <a:endParaRPr lang="en-US" sz="2000" b="1" dirty="0"/>
          </a:p>
        </p:txBody>
      </p:sp>
      <p:sp>
        <p:nvSpPr>
          <p:cNvPr id="74" name="Rectángulo redondeado 73"/>
          <p:cNvSpPr/>
          <p:nvPr/>
        </p:nvSpPr>
        <p:spPr>
          <a:xfrm>
            <a:off x="5615254" y="3662650"/>
            <a:ext cx="2274915" cy="608976"/>
          </a:xfrm>
          <a:prstGeom prst="roundRect">
            <a:avLst/>
          </a:prstGeom>
          <a:solidFill>
            <a:srgbClr val="357F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b="1" dirty="0" smtClean="0"/>
              <a:t>Mejora continua</a:t>
            </a:r>
            <a:endParaRPr lang="en-US" sz="2000" b="1" dirty="0"/>
          </a:p>
        </p:txBody>
      </p:sp>
      <p:sp>
        <p:nvSpPr>
          <p:cNvPr id="75" name="Rectángulo redondeado 74"/>
          <p:cNvSpPr/>
          <p:nvPr/>
        </p:nvSpPr>
        <p:spPr>
          <a:xfrm>
            <a:off x="10171613" y="3676784"/>
            <a:ext cx="1506806" cy="608976"/>
          </a:xfrm>
          <a:prstGeom prst="roundRect">
            <a:avLst/>
          </a:prstGeom>
          <a:solidFill>
            <a:srgbClr val="357F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b="1" dirty="0" smtClean="0"/>
              <a:t>Agilidad</a:t>
            </a:r>
            <a:endParaRPr lang="en-US" sz="2000" b="1" dirty="0"/>
          </a:p>
        </p:txBody>
      </p:sp>
      <p:pic>
        <p:nvPicPr>
          <p:cNvPr id="3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18357" y="16603"/>
            <a:ext cx="2205038" cy="885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479687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4"/>
          <p:cNvSpPr txBox="1">
            <a:spLocks/>
          </p:cNvSpPr>
          <p:nvPr/>
        </p:nvSpPr>
        <p:spPr>
          <a:xfrm>
            <a:off x="2047113" y="2878023"/>
            <a:ext cx="1369060" cy="29046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>
              <a:spcBef>
                <a:spcPts val="105"/>
              </a:spcBef>
            </a:pPr>
            <a:r>
              <a:rPr lang="es-PE" kern="0" spc="-5" dirty="0" smtClean="0">
                <a:solidFill>
                  <a:srgbClr val="FFFFFF"/>
                </a:solidFill>
                <a:latin typeface="Trebuchet MS"/>
                <a:cs typeface="Trebuchet MS"/>
              </a:rPr>
              <a:t>Gracias.</a:t>
            </a:r>
            <a:endParaRPr lang="es-PE" kern="0" spc="-5" dirty="0">
              <a:solidFill>
                <a:srgbClr val="FFFFFF"/>
              </a:solidFill>
              <a:latin typeface="Trebuchet MS"/>
              <a:cs typeface="Trebuchet MS"/>
            </a:endParaRPr>
          </a:p>
        </p:txBody>
      </p:sp>
      <p:sp>
        <p:nvSpPr>
          <p:cNvPr id="4" name="object 6"/>
          <p:cNvSpPr txBox="1"/>
          <p:nvPr/>
        </p:nvSpPr>
        <p:spPr>
          <a:xfrm>
            <a:off x="2047112" y="3377946"/>
            <a:ext cx="4125087" cy="51744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s-ES" sz="1600" spc="-10" dirty="0" smtClean="0">
                <a:solidFill>
                  <a:srgbClr val="FFFFFF"/>
                </a:solidFill>
                <a:latin typeface="Trebuchet MS"/>
                <a:cs typeface="Trebuchet MS"/>
              </a:rPr>
              <a:t>Arequipa</a:t>
            </a:r>
            <a:r>
              <a:rPr sz="1600" spc="-10" dirty="0" smtClean="0">
                <a:solidFill>
                  <a:srgbClr val="FFFFFF"/>
                </a:solidFill>
                <a:latin typeface="Trebuchet MS"/>
                <a:cs typeface="Trebuchet MS"/>
              </a:rPr>
              <a:t>, </a:t>
            </a:r>
            <a:r>
              <a:rPr lang="es-PE" sz="1600" spc="-10" dirty="0" smtClean="0">
                <a:solidFill>
                  <a:srgbClr val="FFFFFF"/>
                </a:solidFill>
                <a:latin typeface="Trebuchet MS"/>
                <a:cs typeface="Trebuchet MS"/>
              </a:rPr>
              <a:t>Octubre </a:t>
            </a:r>
            <a:r>
              <a:rPr lang="es-PE" sz="1600" spc="-10" dirty="0">
                <a:solidFill>
                  <a:srgbClr val="FFFFFF"/>
                </a:solidFill>
                <a:latin typeface="Trebuchet MS"/>
                <a:cs typeface="Trebuchet MS"/>
              </a:rPr>
              <a:t>2019</a:t>
            </a:r>
          </a:p>
          <a:p>
            <a:pPr marL="12700">
              <a:lnSpc>
                <a:spcPct val="100000"/>
              </a:lnSpc>
              <a:spcBef>
                <a:spcPts val="95"/>
              </a:spcBef>
            </a:pPr>
            <a:endParaRPr sz="1600" dirty="0">
              <a:latin typeface="Trebuchet MS"/>
              <a:cs typeface="Trebuchet MS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3752" y="2611521"/>
            <a:ext cx="4308388" cy="17307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6647341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n 20">
            <a:extLst>
              <a:ext uri="{FF2B5EF4-FFF2-40B4-BE49-F238E27FC236}">
                <a16:creationId xmlns:a16="http://schemas.microsoft.com/office/drawing/2014/main" xmlns="" id="{37757AF4-7E08-4AEF-86A7-1CBF5073EB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3333580" y="3004634"/>
            <a:ext cx="7372255" cy="712758"/>
          </a:xfrm>
          <a:prstGeom prst="rect">
            <a:avLst/>
          </a:prstGeom>
        </p:spPr>
        <p:txBody>
          <a:bodyPr vert="horz" wrap="square" lIns="0" tIns="10349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7667">
              <a:spcBef>
                <a:spcPts val="82"/>
              </a:spcBef>
            </a:pPr>
            <a:r>
              <a:rPr lang="es-PE" sz="5071" spc="10" dirty="0" smtClean="0">
                <a:solidFill>
                  <a:srgbClr val="FFFFFF"/>
                </a:solidFill>
                <a:latin typeface="Trebuchet MS"/>
                <a:cs typeface="Trebuchet MS"/>
              </a:rPr>
              <a:t>Fundamentos de DevOps  </a:t>
            </a:r>
            <a:endParaRPr sz="5071" dirty="0">
              <a:latin typeface="Trebuchet MS"/>
              <a:cs typeface="Trebuchet MS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3046126" y="3087530"/>
            <a:ext cx="107328" cy="679999"/>
          </a:xfrm>
          <a:custGeom>
            <a:avLst/>
            <a:gdLst/>
            <a:ahLst/>
            <a:cxnLst/>
            <a:rect l="l" t="t" r="r" b="b"/>
            <a:pathLst>
              <a:path w="177800" h="1126489">
                <a:moveTo>
                  <a:pt x="88413" y="0"/>
                </a:moveTo>
                <a:lnTo>
                  <a:pt x="53983" y="6966"/>
                </a:lnTo>
                <a:lnTo>
                  <a:pt x="25874" y="25936"/>
                </a:lnTo>
                <a:lnTo>
                  <a:pt x="6930" y="54063"/>
                </a:lnTo>
                <a:lnTo>
                  <a:pt x="0" y="88498"/>
                </a:lnTo>
                <a:lnTo>
                  <a:pt x="404" y="1038065"/>
                </a:lnTo>
                <a:lnTo>
                  <a:pt x="7371" y="1072494"/>
                </a:lnTo>
                <a:lnTo>
                  <a:pt x="26340" y="1100601"/>
                </a:lnTo>
                <a:lnTo>
                  <a:pt x="54463" y="1119543"/>
                </a:lnTo>
                <a:lnTo>
                  <a:pt x="88892" y="1126479"/>
                </a:lnTo>
                <a:lnTo>
                  <a:pt x="106718" y="1124673"/>
                </a:lnTo>
                <a:lnTo>
                  <a:pt x="151430" y="1100539"/>
                </a:lnTo>
                <a:lnTo>
                  <a:pt x="175516" y="1055808"/>
                </a:lnTo>
                <a:lnTo>
                  <a:pt x="177305" y="1037980"/>
                </a:lnTo>
                <a:lnTo>
                  <a:pt x="176901" y="88413"/>
                </a:lnTo>
                <a:lnTo>
                  <a:pt x="169934" y="53989"/>
                </a:lnTo>
                <a:lnTo>
                  <a:pt x="150965" y="25882"/>
                </a:lnTo>
                <a:lnTo>
                  <a:pt x="122842" y="6936"/>
                </a:lnTo>
                <a:lnTo>
                  <a:pt x="88413" y="0"/>
                </a:lnTo>
                <a:close/>
              </a:path>
            </a:pathLst>
          </a:custGeom>
          <a:solidFill>
            <a:srgbClr val="00A0E2"/>
          </a:solidFill>
        </p:spPr>
        <p:txBody>
          <a:bodyPr wrap="square" lIns="0" tIns="0" rIns="0" bIns="0" rtlCol="0"/>
          <a:lstStyle/>
          <a:p>
            <a:endParaRPr sz="1087" dirty="0"/>
          </a:p>
        </p:txBody>
      </p:sp>
    </p:spTree>
    <p:extLst>
      <p:ext uri="{BB962C8B-B14F-4D97-AF65-F5344CB8AC3E}">
        <p14:creationId xmlns:p14="http://schemas.microsoft.com/office/powerpoint/2010/main" val="229584142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PE" dirty="0" smtClean="0"/>
              <a:t>Fundamentos</a:t>
            </a:r>
            <a:endParaRPr lang="es-PE" dirty="0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PE" dirty="0" smtClean="0"/>
              <a:t>Introducción a la adopción de prácticas DevOps</a:t>
            </a:r>
            <a:endParaRPr lang="es-PE" dirty="0"/>
          </a:p>
        </p:txBody>
      </p:sp>
      <p:sp>
        <p:nvSpPr>
          <p:cNvPr id="40" name="Text Box 342"/>
          <p:cNvSpPr txBox="1">
            <a:spLocks noChangeArrowheads="1"/>
          </p:cNvSpPr>
          <p:nvPr/>
        </p:nvSpPr>
        <p:spPr bwMode="auto">
          <a:xfrm>
            <a:off x="1982348" y="1452382"/>
            <a:ext cx="3435350" cy="16189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hlink">
                <a:gamma/>
                <a:shade val="60000"/>
                <a:invGamma/>
              </a:schemeClr>
            </a:prstShdw>
          </a:effectLst>
        </p:spPr>
        <p:txBody>
          <a:bodyPr wrap="square" lIns="0" rIns="0">
            <a:sp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b="1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troducción</a:t>
            </a:r>
            <a:r>
              <a:rPr lang="en-US" b="1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a DevOps</a:t>
            </a: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l </a:t>
            </a: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roblema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de </a:t>
            </a: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esarrollar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software </a:t>
            </a: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Qué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s</a:t>
            </a:r>
            <a:r>
              <a:rPr lang="en-US" sz="1400" dirty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DevOps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?</a:t>
            </a: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or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qué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DevOps?</a:t>
            </a: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evOps </a:t>
            </a: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mpulsando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la </a:t>
            </a: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ransformación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digital</a:t>
            </a:r>
            <a:endParaRPr lang="en-US" sz="1400" dirty="0">
              <a:solidFill>
                <a:srgbClr val="4454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1" name="Group 460"/>
          <p:cNvGrpSpPr>
            <a:grpSpLocks/>
          </p:cNvGrpSpPr>
          <p:nvPr/>
        </p:nvGrpSpPr>
        <p:grpSpPr bwMode="auto">
          <a:xfrm>
            <a:off x="6364590" y="4553952"/>
            <a:ext cx="723900" cy="363538"/>
            <a:chOff x="168" y="1210"/>
            <a:chExt cx="527" cy="265"/>
          </a:xfrm>
        </p:grpSpPr>
        <p:sp>
          <p:nvSpPr>
            <p:cNvPr id="42" name="Freeform 140"/>
            <p:cNvSpPr>
              <a:spLocks/>
            </p:cNvSpPr>
            <p:nvPr/>
          </p:nvSpPr>
          <p:spPr bwMode="auto">
            <a:xfrm>
              <a:off x="168" y="1210"/>
              <a:ext cx="527" cy="265"/>
            </a:xfrm>
            <a:custGeom>
              <a:avLst/>
              <a:gdLst>
                <a:gd name="T0" fmla="*/ 19 w 810"/>
                <a:gd name="T1" fmla="*/ 7 h 407"/>
                <a:gd name="T2" fmla="*/ 19 w 810"/>
                <a:gd name="T3" fmla="*/ 7 h 407"/>
                <a:gd name="T4" fmla="*/ 17 w 810"/>
                <a:gd name="T5" fmla="*/ 5 h 407"/>
                <a:gd name="T6" fmla="*/ 16 w 810"/>
                <a:gd name="T7" fmla="*/ 5 h 407"/>
                <a:gd name="T8" fmla="*/ 14 w 810"/>
                <a:gd name="T9" fmla="*/ 3 h 407"/>
                <a:gd name="T10" fmla="*/ 14 w 810"/>
                <a:gd name="T11" fmla="*/ 3 h 407"/>
                <a:gd name="T12" fmla="*/ 10 w 810"/>
                <a:gd name="T13" fmla="*/ 0 h 407"/>
                <a:gd name="T14" fmla="*/ 7 w 810"/>
                <a:gd name="T15" fmla="*/ 3 h 407"/>
                <a:gd name="T16" fmla="*/ 6 w 810"/>
                <a:gd name="T17" fmla="*/ 3 h 407"/>
                <a:gd name="T18" fmla="*/ 4 w 810"/>
                <a:gd name="T19" fmla="*/ 5 h 407"/>
                <a:gd name="T20" fmla="*/ 3 w 810"/>
                <a:gd name="T21" fmla="*/ 5 h 407"/>
                <a:gd name="T22" fmla="*/ 0 w 810"/>
                <a:gd name="T23" fmla="*/ 8 h 407"/>
                <a:gd name="T24" fmla="*/ 1 w 810"/>
                <a:gd name="T25" fmla="*/ 10 h 407"/>
                <a:gd name="T26" fmla="*/ 1 w 810"/>
                <a:gd name="T27" fmla="*/ 10 h 407"/>
                <a:gd name="T28" fmla="*/ 20 w 810"/>
                <a:gd name="T29" fmla="*/ 10 h 407"/>
                <a:gd name="T30" fmla="*/ 20 w 810"/>
                <a:gd name="T31" fmla="*/ 10 h 407"/>
                <a:gd name="T32" fmla="*/ 21 w 810"/>
                <a:gd name="T33" fmla="*/ 9 h 407"/>
                <a:gd name="T34" fmla="*/ 19 w 810"/>
                <a:gd name="T35" fmla="*/ 7 h 40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810"/>
                <a:gd name="T55" fmla="*/ 0 h 407"/>
                <a:gd name="T56" fmla="*/ 810 w 810"/>
                <a:gd name="T57" fmla="*/ 407 h 40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810" h="407">
                  <a:moveTo>
                    <a:pt x="732" y="265"/>
                  </a:moveTo>
                  <a:cubicBezTo>
                    <a:pt x="733" y="262"/>
                    <a:pt x="733" y="258"/>
                    <a:pt x="733" y="255"/>
                  </a:cubicBezTo>
                  <a:cubicBezTo>
                    <a:pt x="733" y="215"/>
                    <a:pt x="700" y="182"/>
                    <a:pt x="660" y="182"/>
                  </a:cubicBezTo>
                  <a:cubicBezTo>
                    <a:pt x="658" y="182"/>
                    <a:pt x="656" y="182"/>
                    <a:pt x="654" y="182"/>
                  </a:cubicBezTo>
                  <a:cubicBezTo>
                    <a:pt x="639" y="144"/>
                    <a:pt x="602" y="119"/>
                    <a:pt x="561" y="119"/>
                  </a:cubicBezTo>
                  <a:cubicBezTo>
                    <a:pt x="558" y="119"/>
                    <a:pt x="556" y="119"/>
                    <a:pt x="553" y="119"/>
                  </a:cubicBezTo>
                  <a:cubicBezTo>
                    <a:pt x="541" y="50"/>
                    <a:pt x="481" y="0"/>
                    <a:pt x="410" y="0"/>
                  </a:cubicBezTo>
                  <a:cubicBezTo>
                    <a:pt x="338" y="0"/>
                    <a:pt x="278" y="53"/>
                    <a:pt x="267" y="122"/>
                  </a:cubicBezTo>
                  <a:cubicBezTo>
                    <a:pt x="259" y="120"/>
                    <a:pt x="251" y="119"/>
                    <a:pt x="242" y="119"/>
                  </a:cubicBezTo>
                  <a:cubicBezTo>
                    <a:pt x="201" y="119"/>
                    <a:pt x="167" y="148"/>
                    <a:pt x="159" y="187"/>
                  </a:cubicBezTo>
                  <a:cubicBezTo>
                    <a:pt x="151" y="185"/>
                    <a:pt x="142" y="184"/>
                    <a:pt x="134" y="184"/>
                  </a:cubicBezTo>
                  <a:cubicBezTo>
                    <a:pt x="60" y="184"/>
                    <a:pt x="0" y="244"/>
                    <a:pt x="0" y="318"/>
                  </a:cubicBezTo>
                  <a:cubicBezTo>
                    <a:pt x="0" y="349"/>
                    <a:pt x="11" y="379"/>
                    <a:pt x="31" y="403"/>
                  </a:cubicBezTo>
                  <a:cubicBezTo>
                    <a:pt x="34" y="407"/>
                    <a:pt x="34" y="407"/>
                    <a:pt x="34" y="407"/>
                  </a:cubicBezTo>
                  <a:cubicBezTo>
                    <a:pt x="791" y="407"/>
                    <a:pt x="791" y="407"/>
                    <a:pt x="791" y="407"/>
                  </a:cubicBezTo>
                  <a:cubicBezTo>
                    <a:pt x="794" y="402"/>
                    <a:pt x="794" y="402"/>
                    <a:pt x="794" y="402"/>
                  </a:cubicBezTo>
                  <a:cubicBezTo>
                    <a:pt x="805" y="388"/>
                    <a:pt x="810" y="370"/>
                    <a:pt x="810" y="352"/>
                  </a:cubicBezTo>
                  <a:cubicBezTo>
                    <a:pt x="810" y="307"/>
                    <a:pt x="776" y="270"/>
                    <a:pt x="732" y="265"/>
                  </a:cubicBezTo>
                  <a:close/>
                </a:path>
              </a:pathLst>
            </a:custGeom>
            <a:solidFill>
              <a:srgbClr val="00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PE"/>
            </a:p>
          </p:txBody>
        </p:sp>
        <p:grpSp>
          <p:nvGrpSpPr>
            <p:cNvPr id="43" name="Group 364"/>
            <p:cNvGrpSpPr>
              <a:grpSpLocks/>
            </p:cNvGrpSpPr>
            <p:nvPr/>
          </p:nvGrpSpPr>
          <p:grpSpPr bwMode="auto">
            <a:xfrm>
              <a:off x="383" y="1288"/>
              <a:ext cx="102" cy="140"/>
              <a:chOff x="2501" y="1701"/>
              <a:chExt cx="398" cy="545"/>
            </a:xfrm>
          </p:grpSpPr>
          <p:sp>
            <p:nvSpPr>
              <p:cNvPr id="44" name="Rectangle 358"/>
              <p:cNvSpPr>
                <a:spLocks noChangeArrowheads="1"/>
              </p:cNvSpPr>
              <p:nvPr/>
            </p:nvSpPr>
            <p:spPr bwMode="auto">
              <a:xfrm>
                <a:off x="2501" y="2015"/>
                <a:ext cx="398" cy="23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endParaRPr lang="en-US" alt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Rectangle 359"/>
              <p:cNvSpPr>
                <a:spLocks noChangeArrowheads="1"/>
              </p:cNvSpPr>
              <p:nvPr/>
            </p:nvSpPr>
            <p:spPr bwMode="auto">
              <a:xfrm>
                <a:off x="2501" y="1899"/>
                <a:ext cx="398" cy="9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endParaRPr lang="en-US" alt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Freeform 362"/>
              <p:cNvSpPr>
                <a:spLocks/>
              </p:cNvSpPr>
              <p:nvPr/>
            </p:nvSpPr>
            <p:spPr bwMode="auto">
              <a:xfrm>
                <a:off x="2550" y="1701"/>
                <a:ext cx="299" cy="214"/>
              </a:xfrm>
              <a:custGeom>
                <a:avLst/>
                <a:gdLst>
                  <a:gd name="T0" fmla="*/ 1370533 w 18"/>
                  <a:gd name="T1" fmla="*/ 954670 h 13"/>
                  <a:gd name="T2" fmla="*/ 1219339 w 18"/>
                  <a:gd name="T3" fmla="*/ 954670 h 13"/>
                  <a:gd name="T4" fmla="*/ 1219339 w 18"/>
                  <a:gd name="T5" fmla="*/ 660108 h 13"/>
                  <a:gd name="T6" fmla="*/ 687617 w 18"/>
                  <a:gd name="T7" fmla="*/ 218675 h 13"/>
                  <a:gd name="T8" fmla="*/ 151211 w 18"/>
                  <a:gd name="T9" fmla="*/ 660108 h 13"/>
                  <a:gd name="T10" fmla="*/ 151211 w 18"/>
                  <a:gd name="T11" fmla="*/ 954670 h 13"/>
                  <a:gd name="T12" fmla="*/ 0 w 18"/>
                  <a:gd name="T13" fmla="*/ 954670 h 13"/>
                  <a:gd name="T14" fmla="*/ 0 w 18"/>
                  <a:gd name="T15" fmla="*/ 660108 h 13"/>
                  <a:gd name="T16" fmla="*/ 687617 w 18"/>
                  <a:gd name="T17" fmla="*/ 0 h 13"/>
                  <a:gd name="T18" fmla="*/ 1370533 w 18"/>
                  <a:gd name="T19" fmla="*/ 660108 h 13"/>
                  <a:gd name="T20" fmla="*/ 1370533 w 18"/>
                  <a:gd name="T21" fmla="*/ 95467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8"/>
                  <a:gd name="T34" fmla="*/ 0 h 13"/>
                  <a:gd name="T35" fmla="*/ 18 w 18"/>
                  <a:gd name="T36" fmla="*/ 13 h 1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8" h="13">
                    <a:moveTo>
                      <a:pt x="18" y="13"/>
                    </a:moveTo>
                    <a:cubicBezTo>
                      <a:pt x="16" y="13"/>
                      <a:pt x="16" y="13"/>
                      <a:pt x="16" y="13"/>
                    </a:cubicBezTo>
                    <a:cubicBezTo>
                      <a:pt x="16" y="13"/>
                      <a:pt x="16" y="9"/>
                      <a:pt x="16" y="9"/>
                    </a:cubicBezTo>
                    <a:cubicBezTo>
                      <a:pt x="15" y="5"/>
                      <a:pt x="13" y="3"/>
                      <a:pt x="9" y="3"/>
                    </a:cubicBezTo>
                    <a:cubicBezTo>
                      <a:pt x="5" y="3"/>
                      <a:pt x="3" y="5"/>
                      <a:pt x="2" y="9"/>
                    </a:cubicBezTo>
                    <a:cubicBezTo>
                      <a:pt x="2" y="9"/>
                      <a:pt x="2" y="13"/>
                      <a:pt x="2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3"/>
                      <a:pt x="0" y="9"/>
                      <a:pt x="0" y="9"/>
                    </a:cubicBezTo>
                    <a:cubicBezTo>
                      <a:pt x="0" y="4"/>
                      <a:pt x="4" y="0"/>
                      <a:pt x="9" y="0"/>
                    </a:cubicBezTo>
                    <a:cubicBezTo>
                      <a:pt x="14" y="0"/>
                      <a:pt x="18" y="4"/>
                      <a:pt x="18" y="9"/>
                    </a:cubicBezTo>
                    <a:lnTo>
                      <a:pt x="18" y="1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s-PE"/>
              </a:p>
            </p:txBody>
          </p:sp>
        </p:grpSp>
      </p:grpSp>
      <p:grpSp>
        <p:nvGrpSpPr>
          <p:cNvPr id="48" name="Group 376"/>
          <p:cNvGrpSpPr>
            <a:grpSpLocks/>
          </p:cNvGrpSpPr>
          <p:nvPr/>
        </p:nvGrpSpPr>
        <p:grpSpPr bwMode="auto">
          <a:xfrm>
            <a:off x="1146861" y="3346546"/>
            <a:ext cx="525463" cy="525462"/>
            <a:chOff x="1621" y="2421"/>
            <a:chExt cx="437" cy="437"/>
          </a:xfrm>
        </p:grpSpPr>
        <p:sp>
          <p:nvSpPr>
            <p:cNvPr id="49" name="Freeform 368"/>
            <p:cNvSpPr>
              <a:spLocks noEditPoints="1"/>
            </p:cNvSpPr>
            <p:nvPr/>
          </p:nvSpPr>
          <p:spPr bwMode="auto">
            <a:xfrm>
              <a:off x="1621" y="2421"/>
              <a:ext cx="437" cy="437"/>
            </a:xfrm>
            <a:custGeom>
              <a:avLst/>
              <a:gdLst>
                <a:gd name="T0" fmla="*/ 7945 w 132"/>
                <a:gd name="T1" fmla="*/ 0 h 132"/>
                <a:gd name="T2" fmla="*/ 0 w 132"/>
                <a:gd name="T3" fmla="*/ 7945 h 132"/>
                <a:gd name="T4" fmla="*/ 7945 w 132"/>
                <a:gd name="T5" fmla="*/ 15858 h 132"/>
                <a:gd name="T6" fmla="*/ 15858 w 132"/>
                <a:gd name="T7" fmla="*/ 7945 h 132"/>
                <a:gd name="T8" fmla="*/ 7945 w 132"/>
                <a:gd name="T9" fmla="*/ 0 h 132"/>
                <a:gd name="T10" fmla="*/ 7945 w 132"/>
                <a:gd name="T11" fmla="*/ 834 h 132"/>
                <a:gd name="T12" fmla="*/ 15027 w 132"/>
                <a:gd name="T13" fmla="*/ 7945 h 132"/>
                <a:gd name="T14" fmla="*/ 13458 w 132"/>
                <a:gd name="T15" fmla="*/ 12266 h 132"/>
                <a:gd name="T16" fmla="*/ 8889 w 132"/>
                <a:gd name="T17" fmla="*/ 10445 h 132"/>
                <a:gd name="T18" fmla="*/ 9501 w 132"/>
                <a:gd name="T19" fmla="*/ 4208 h 132"/>
                <a:gd name="T20" fmla="*/ 7081 w 132"/>
                <a:gd name="T21" fmla="*/ 10445 h 132"/>
                <a:gd name="T22" fmla="*/ 2400 w 132"/>
                <a:gd name="T23" fmla="*/ 12266 h 132"/>
                <a:gd name="T24" fmla="*/ 834 w 132"/>
                <a:gd name="T25" fmla="*/ 7945 h 132"/>
                <a:gd name="T26" fmla="*/ 7945 w 132"/>
                <a:gd name="T27" fmla="*/ 834 h 1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2"/>
                <a:gd name="T43" fmla="*/ 0 h 132"/>
                <a:gd name="T44" fmla="*/ 132 w 132"/>
                <a:gd name="T45" fmla="*/ 132 h 1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2" h="132">
                  <a:moveTo>
                    <a:pt x="66" y="0"/>
                  </a:moveTo>
                  <a:cubicBezTo>
                    <a:pt x="30" y="0"/>
                    <a:pt x="0" y="29"/>
                    <a:pt x="0" y="66"/>
                  </a:cubicBezTo>
                  <a:cubicBezTo>
                    <a:pt x="0" y="102"/>
                    <a:pt x="30" y="132"/>
                    <a:pt x="66" y="132"/>
                  </a:cubicBezTo>
                  <a:cubicBezTo>
                    <a:pt x="103" y="132"/>
                    <a:pt x="132" y="102"/>
                    <a:pt x="132" y="66"/>
                  </a:cubicBezTo>
                  <a:cubicBezTo>
                    <a:pt x="132" y="29"/>
                    <a:pt x="103" y="0"/>
                    <a:pt x="66" y="0"/>
                  </a:cubicBezTo>
                  <a:close/>
                  <a:moveTo>
                    <a:pt x="66" y="7"/>
                  </a:moveTo>
                  <a:cubicBezTo>
                    <a:pt x="98" y="7"/>
                    <a:pt x="125" y="33"/>
                    <a:pt x="125" y="66"/>
                  </a:cubicBezTo>
                  <a:cubicBezTo>
                    <a:pt x="125" y="79"/>
                    <a:pt x="120" y="92"/>
                    <a:pt x="112" y="102"/>
                  </a:cubicBezTo>
                  <a:cubicBezTo>
                    <a:pt x="102" y="94"/>
                    <a:pt x="89" y="88"/>
                    <a:pt x="74" y="87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59" y="87"/>
                    <a:pt x="59" y="87"/>
                    <a:pt x="59" y="87"/>
                  </a:cubicBezTo>
                  <a:cubicBezTo>
                    <a:pt x="44" y="88"/>
                    <a:pt x="31" y="94"/>
                    <a:pt x="20" y="102"/>
                  </a:cubicBezTo>
                  <a:cubicBezTo>
                    <a:pt x="12" y="92"/>
                    <a:pt x="7" y="80"/>
                    <a:pt x="7" y="66"/>
                  </a:cubicBezTo>
                  <a:cubicBezTo>
                    <a:pt x="7" y="33"/>
                    <a:pt x="34" y="7"/>
                    <a:pt x="66" y="7"/>
                  </a:cubicBezTo>
                  <a:close/>
                </a:path>
              </a:pathLst>
            </a:custGeom>
            <a:solidFill>
              <a:srgbClr val="00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PE"/>
            </a:p>
          </p:txBody>
        </p:sp>
        <p:sp>
          <p:nvSpPr>
            <p:cNvPr id="50" name="Rectangle 369"/>
            <p:cNvSpPr>
              <a:spLocks noChangeArrowheads="1"/>
            </p:cNvSpPr>
            <p:nvPr/>
          </p:nvSpPr>
          <p:spPr bwMode="auto">
            <a:xfrm>
              <a:off x="1829" y="2464"/>
              <a:ext cx="20" cy="33"/>
            </a:xfrm>
            <a:prstGeom prst="rect">
              <a:avLst/>
            </a:prstGeom>
            <a:solidFill>
              <a:srgbClr val="00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>
                <a:solidFill>
                  <a:srgbClr val="FFFFFF"/>
                </a:solidFill>
              </a:endParaRPr>
            </a:p>
          </p:txBody>
        </p:sp>
        <p:sp>
          <p:nvSpPr>
            <p:cNvPr id="51" name="Freeform 370"/>
            <p:cNvSpPr>
              <a:spLocks/>
            </p:cNvSpPr>
            <p:nvPr/>
          </p:nvSpPr>
          <p:spPr bwMode="auto">
            <a:xfrm>
              <a:off x="1889" y="2474"/>
              <a:ext cx="30" cy="36"/>
            </a:xfrm>
            <a:custGeom>
              <a:avLst/>
              <a:gdLst>
                <a:gd name="T0" fmla="*/ 30 w 30"/>
                <a:gd name="T1" fmla="*/ 10 h 36"/>
                <a:gd name="T2" fmla="*/ 13 w 30"/>
                <a:gd name="T3" fmla="*/ 0 h 36"/>
                <a:gd name="T4" fmla="*/ 0 w 30"/>
                <a:gd name="T5" fmla="*/ 30 h 36"/>
                <a:gd name="T6" fmla="*/ 16 w 30"/>
                <a:gd name="T7" fmla="*/ 36 h 36"/>
                <a:gd name="T8" fmla="*/ 30 w 30"/>
                <a:gd name="T9" fmla="*/ 1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0"/>
                <a:gd name="T16" fmla="*/ 0 h 36"/>
                <a:gd name="T17" fmla="*/ 30 w 30"/>
                <a:gd name="T18" fmla="*/ 36 h 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0" h="36">
                  <a:moveTo>
                    <a:pt x="30" y="10"/>
                  </a:moveTo>
                  <a:lnTo>
                    <a:pt x="13" y="0"/>
                  </a:lnTo>
                  <a:lnTo>
                    <a:pt x="0" y="30"/>
                  </a:lnTo>
                  <a:lnTo>
                    <a:pt x="16" y="36"/>
                  </a:lnTo>
                  <a:lnTo>
                    <a:pt x="30" y="10"/>
                  </a:lnTo>
                  <a:close/>
                </a:path>
              </a:pathLst>
            </a:custGeom>
            <a:solidFill>
              <a:srgbClr val="00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PE"/>
            </a:p>
          </p:txBody>
        </p:sp>
        <p:sp>
          <p:nvSpPr>
            <p:cNvPr id="52" name="Freeform 371"/>
            <p:cNvSpPr>
              <a:spLocks/>
            </p:cNvSpPr>
            <p:nvPr/>
          </p:nvSpPr>
          <p:spPr bwMode="auto">
            <a:xfrm>
              <a:off x="1938" y="2510"/>
              <a:ext cx="37" cy="37"/>
            </a:xfrm>
            <a:custGeom>
              <a:avLst/>
              <a:gdLst>
                <a:gd name="T0" fmla="*/ 37 w 37"/>
                <a:gd name="T1" fmla="*/ 17 h 37"/>
                <a:gd name="T2" fmla="*/ 24 w 37"/>
                <a:gd name="T3" fmla="*/ 0 h 37"/>
                <a:gd name="T4" fmla="*/ 0 w 37"/>
                <a:gd name="T5" fmla="*/ 24 h 37"/>
                <a:gd name="T6" fmla="*/ 17 w 37"/>
                <a:gd name="T7" fmla="*/ 37 h 37"/>
                <a:gd name="T8" fmla="*/ 37 w 37"/>
                <a:gd name="T9" fmla="*/ 17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7"/>
                <a:gd name="T16" fmla="*/ 0 h 37"/>
                <a:gd name="T17" fmla="*/ 37 w 37"/>
                <a:gd name="T18" fmla="*/ 37 h 3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7" h="37">
                  <a:moveTo>
                    <a:pt x="37" y="17"/>
                  </a:moveTo>
                  <a:lnTo>
                    <a:pt x="24" y="0"/>
                  </a:lnTo>
                  <a:lnTo>
                    <a:pt x="0" y="24"/>
                  </a:lnTo>
                  <a:lnTo>
                    <a:pt x="17" y="37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00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PE"/>
            </a:p>
          </p:txBody>
        </p:sp>
        <p:sp>
          <p:nvSpPr>
            <p:cNvPr id="53" name="Freeform 372"/>
            <p:cNvSpPr>
              <a:spLocks/>
            </p:cNvSpPr>
            <p:nvPr/>
          </p:nvSpPr>
          <p:spPr bwMode="auto">
            <a:xfrm>
              <a:off x="1703" y="2510"/>
              <a:ext cx="37" cy="37"/>
            </a:xfrm>
            <a:custGeom>
              <a:avLst/>
              <a:gdLst>
                <a:gd name="T0" fmla="*/ 37 w 37"/>
                <a:gd name="T1" fmla="*/ 24 h 37"/>
                <a:gd name="T2" fmla="*/ 17 w 37"/>
                <a:gd name="T3" fmla="*/ 0 h 37"/>
                <a:gd name="T4" fmla="*/ 0 w 37"/>
                <a:gd name="T5" fmla="*/ 14 h 37"/>
                <a:gd name="T6" fmla="*/ 23 w 37"/>
                <a:gd name="T7" fmla="*/ 37 h 37"/>
                <a:gd name="T8" fmla="*/ 37 w 37"/>
                <a:gd name="T9" fmla="*/ 24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7"/>
                <a:gd name="T16" fmla="*/ 0 h 37"/>
                <a:gd name="T17" fmla="*/ 37 w 37"/>
                <a:gd name="T18" fmla="*/ 37 h 3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7" h="37">
                  <a:moveTo>
                    <a:pt x="37" y="24"/>
                  </a:moveTo>
                  <a:lnTo>
                    <a:pt x="17" y="0"/>
                  </a:lnTo>
                  <a:lnTo>
                    <a:pt x="0" y="14"/>
                  </a:lnTo>
                  <a:lnTo>
                    <a:pt x="23" y="37"/>
                  </a:lnTo>
                  <a:lnTo>
                    <a:pt x="37" y="24"/>
                  </a:lnTo>
                  <a:close/>
                </a:path>
              </a:pathLst>
            </a:custGeom>
            <a:solidFill>
              <a:srgbClr val="00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PE"/>
            </a:p>
          </p:txBody>
        </p:sp>
        <p:sp>
          <p:nvSpPr>
            <p:cNvPr id="54" name="Freeform 373"/>
            <p:cNvSpPr>
              <a:spLocks/>
            </p:cNvSpPr>
            <p:nvPr/>
          </p:nvSpPr>
          <p:spPr bwMode="auto">
            <a:xfrm>
              <a:off x="1670" y="2563"/>
              <a:ext cx="37" cy="33"/>
            </a:xfrm>
            <a:custGeom>
              <a:avLst/>
              <a:gdLst>
                <a:gd name="T0" fmla="*/ 37 w 37"/>
                <a:gd name="T1" fmla="*/ 14 h 33"/>
                <a:gd name="T2" fmla="*/ 7 w 37"/>
                <a:gd name="T3" fmla="*/ 0 h 33"/>
                <a:gd name="T4" fmla="*/ 0 w 37"/>
                <a:gd name="T5" fmla="*/ 20 h 33"/>
                <a:gd name="T6" fmla="*/ 30 w 37"/>
                <a:gd name="T7" fmla="*/ 33 h 33"/>
                <a:gd name="T8" fmla="*/ 37 w 37"/>
                <a:gd name="T9" fmla="*/ 14 h 3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7"/>
                <a:gd name="T16" fmla="*/ 0 h 33"/>
                <a:gd name="T17" fmla="*/ 37 w 37"/>
                <a:gd name="T18" fmla="*/ 33 h 3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7" h="33">
                  <a:moveTo>
                    <a:pt x="37" y="14"/>
                  </a:moveTo>
                  <a:lnTo>
                    <a:pt x="7" y="0"/>
                  </a:lnTo>
                  <a:lnTo>
                    <a:pt x="0" y="20"/>
                  </a:lnTo>
                  <a:lnTo>
                    <a:pt x="30" y="33"/>
                  </a:lnTo>
                  <a:lnTo>
                    <a:pt x="37" y="14"/>
                  </a:lnTo>
                  <a:close/>
                </a:path>
              </a:pathLst>
            </a:custGeom>
            <a:solidFill>
              <a:srgbClr val="00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PE"/>
            </a:p>
          </p:txBody>
        </p:sp>
        <p:sp>
          <p:nvSpPr>
            <p:cNvPr id="55" name="Freeform 374"/>
            <p:cNvSpPr>
              <a:spLocks/>
            </p:cNvSpPr>
            <p:nvPr/>
          </p:nvSpPr>
          <p:spPr bwMode="auto">
            <a:xfrm>
              <a:off x="1971" y="2563"/>
              <a:ext cx="40" cy="33"/>
            </a:xfrm>
            <a:custGeom>
              <a:avLst/>
              <a:gdLst>
                <a:gd name="T0" fmla="*/ 10 w 40"/>
                <a:gd name="T1" fmla="*/ 33 h 33"/>
                <a:gd name="T2" fmla="*/ 40 w 40"/>
                <a:gd name="T3" fmla="*/ 20 h 33"/>
                <a:gd name="T4" fmla="*/ 30 w 40"/>
                <a:gd name="T5" fmla="*/ 0 h 33"/>
                <a:gd name="T6" fmla="*/ 0 w 40"/>
                <a:gd name="T7" fmla="*/ 14 h 33"/>
                <a:gd name="T8" fmla="*/ 10 w 40"/>
                <a:gd name="T9" fmla="*/ 33 h 3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0"/>
                <a:gd name="T16" fmla="*/ 0 h 33"/>
                <a:gd name="T17" fmla="*/ 40 w 40"/>
                <a:gd name="T18" fmla="*/ 33 h 3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0" h="33">
                  <a:moveTo>
                    <a:pt x="10" y="33"/>
                  </a:moveTo>
                  <a:lnTo>
                    <a:pt x="40" y="20"/>
                  </a:lnTo>
                  <a:lnTo>
                    <a:pt x="30" y="0"/>
                  </a:lnTo>
                  <a:lnTo>
                    <a:pt x="0" y="14"/>
                  </a:lnTo>
                  <a:lnTo>
                    <a:pt x="10" y="33"/>
                  </a:lnTo>
                  <a:close/>
                </a:path>
              </a:pathLst>
            </a:custGeom>
            <a:solidFill>
              <a:srgbClr val="00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PE"/>
            </a:p>
          </p:txBody>
        </p:sp>
        <p:sp>
          <p:nvSpPr>
            <p:cNvPr id="56" name="Freeform 375"/>
            <p:cNvSpPr>
              <a:spLocks/>
            </p:cNvSpPr>
            <p:nvPr/>
          </p:nvSpPr>
          <p:spPr bwMode="auto">
            <a:xfrm>
              <a:off x="1760" y="2474"/>
              <a:ext cx="29" cy="36"/>
            </a:xfrm>
            <a:custGeom>
              <a:avLst/>
              <a:gdLst>
                <a:gd name="T0" fmla="*/ 29 w 29"/>
                <a:gd name="T1" fmla="*/ 30 h 36"/>
                <a:gd name="T2" fmla="*/ 19 w 29"/>
                <a:gd name="T3" fmla="*/ 0 h 36"/>
                <a:gd name="T4" fmla="*/ 0 w 29"/>
                <a:gd name="T5" fmla="*/ 10 h 36"/>
                <a:gd name="T6" fmla="*/ 13 w 29"/>
                <a:gd name="T7" fmla="*/ 36 h 36"/>
                <a:gd name="T8" fmla="*/ 29 w 29"/>
                <a:gd name="T9" fmla="*/ 3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9"/>
                <a:gd name="T16" fmla="*/ 0 h 36"/>
                <a:gd name="T17" fmla="*/ 29 w 29"/>
                <a:gd name="T18" fmla="*/ 36 h 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9" h="36">
                  <a:moveTo>
                    <a:pt x="29" y="30"/>
                  </a:moveTo>
                  <a:lnTo>
                    <a:pt x="19" y="0"/>
                  </a:lnTo>
                  <a:lnTo>
                    <a:pt x="0" y="10"/>
                  </a:lnTo>
                  <a:lnTo>
                    <a:pt x="13" y="36"/>
                  </a:lnTo>
                  <a:lnTo>
                    <a:pt x="29" y="30"/>
                  </a:lnTo>
                  <a:close/>
                </a:path>
              </a:pathLst>
            </a:custGeom>
            <a:solidFill>
              <a:srgbClr val="00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PE"/>
            </a:p>
          </p:txBody>
        </p:sp>
      </p:grpSp>
      <p:grpSp>
        <p:nvGrpSpPr>
          <p:cNvPr id="58" name="Group 398"/>
          <p:cNvGrpSpPr>
            <a:grpSpLocks/>
          </p:cNvGrpSpPr>
          <p:nvPr/>
        </p:nvGrpSpPr>
        <p:grpSpPr bwMode="auto">
          <a:xfrm>
            <a:off x="1072450" y="4791516"/>
            <a:ext cx="614363" cy="585788"/>
            <a:chOff x="2341" y="2511"/>
            <a:chExt cx="695" cy="663"/>
          </a:xfrm>
        </p:grpSpPr>
        <p:sp>
          <p:nvSpPr>
            <p:cNvPr id="59" name="Rectangle 380"/>
            <p:cNvSpPr>
              <a:spLocks noChangeArrowheads="1"/>
            </p:cNvSpPr>
            <p:nvPr/>
          </p:nvSpPr>
          <p:spPr bwMode="auto">
            <a:xfrm>
              <a:off x="2429" y="2926"/>
              <a:ext cx="179" cy="177"/>
            </a:xfrm>
            <a:prstGeom prst="rect">
              <a:avLst/>
            </a:prstGeom>
            <a:solidFill>
              <a:srgbClr val="00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>
                <a:solidFill>
                  <a:srgbClr val="FFFFFF"/>
                </a:solidFill>
              </a:endParaRPr>
            </a:p>
          </p:txBody>
        </p:sp>
        <p:sp>
          <p:nvSpPr>
            <p:cNvPr id="60" name="Rectangle 381"/>
            <p:cNvSpPr>
              <a:spLocks noChangeArrowheads="1"/>
            </p:cNvSpPr>
            <p:nvPr/>
          </p:nvSpPr>
          <p:spPr bwMode="auto">
            <a:xfrm>
              <a:off x="2608" y="3103"/>
              <a:ext cx="71" cy="71"/>
            </a:xfrm>
            <a:prstGeom prst="rect">
              <a:avLst/>
            </a:prstGeom>
            <a:solidFill>
              <a:srgbClr val="00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>
                <a:solidFill>
                  <a:srgbClr val="FFFFFF"/>
                </a:solidFill>
              </a:endParaRPr>
            </a:p>
          </p:txBody>
        </p:sp>
        <p:sp>
          <p:nvSpPr>
            <p:cNvPr id="61" name="Rectangle 382"/>
            <p:cNvSpPr>
              <a:spLocks noChangeArrowheads="1"/>
            </p:cNvSpPr>
            <p:nvPr/>
          </p:nvSpPr>
          <p:spPr bwMode="auto">
            <a:xfrm>
              <a:off x="2745" y="2912"/>
              <a:ext cx="111" cy="113"/>
            </a:xfrm>
            <a:prstGeom prst="rect">
              <a:avLst/>
            </a:prstGeom>
            <a:solidFill>
              <a:srgbClr val="00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>
                <a:solidFill>
                  <a:srgbClr val="FFFFFF"/>
                </a:solidFill>
              </a:endParaRPr>
            </a:p>
          </p:txBody>
        </p:sp>
        <p:sp>
          <p:nvSpPr>
            <p:cNvPr id="62" name="Rectangle 383"/>
            <p:cNvSpPr>
              <a:spLocks noChangeArrowheads="1"/>
            </p:cNvSpPr>
            <p:nvPr/>
          </p:nvSpPr>
          <p:spPr bwMode="auto">
            <a:xfrm>
              <a:off x="2856" y="3025"/>
              <a:ext cx="104" cy="102"/>
            </a:xfrm>
            <a:prstGeom prst="rect">
              <a:avLst/>
            </a:prstGeom>
            <a:solidFill>
              <a:srgbClr val="00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>
                <a:solidFill>
                  <a:srgbClr val="FFFFFF"/>
                </a:solidFill>
              </a:endParaRPr>
            </a:p>
          </p:txBody>
        </p:sp>
        <p:sp>
          <p:nvSpPr>
            <p:cNvPr id="63" name="Rectangle 384"/>
            <p:cNvSpPr>
              <a:spLocks noChangeArrowheads="1"/>
            </p:cNvSpPr>
            <p:nvPr/>
          </p:nvSpPr>
          <p:spPr bwMode="auto">
            <a:xfrm>
              <a:off x="2622" y="2751"/>
              <a:ext cx="38" cy="41"/>
            </a:xfrm>
            <a:prstGeom prst="rect">
              <a:avLst/>
            </a:prstGeom>
            <a:solidFill>
              <a:srgbClr val="00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>
                <a:solidFill>
                  <a:srgbClr val="FFFFFF"/>
                </a:solidFill>
              </a:endParaRPr>
            </a:p>
          </p:txBody>
        </p:sp>
        <p:sp>
          <p:nvSpPr>
            <p:cNvPr id="64" name="Rectangle 385"/>
            <p:cNvSpPr>
              <a:spLocks noChangeArrowheads="1"/>
            </p:cNvSpPr>
            <p:nvPr/>
          </p:nvSpPr>
          <p:spPr bwMode="auto">
            <a:xfrm>
              <a:off x="2660" y="2598"/>
              <a:ext cx="156" cy="153"/>
            </a:xfrm>
            <a:prstGeom prst="rect">
              <a:avLst/>
            </a:prstGeom>
            <a:solidFill>
              <a:srgbClr val="00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>
                <a:solidFill>
                  <a:srgbClr val="FFFFFF"/>
                </a:solidFill>
              </a:endParaRPr>
            </a:p>
          </p:txBody>
        </p:sp>
        <p:sp>
          <p:nvSpPr>
            <p:cNvPr id="65" name="Rectangle 386"/>
            <p:cNvSpPr>
              <a:spLocks noChangeArrowheads="1"/>
            </p:cNvSpPr>
            <p:nvPr/>
          </p:nvSpPr>
          <p:spPr bwMode="auto">
            <a:xfrm>
              <a:off x="2908" y="2827"/>
              <a:ext cx="55" cy="52"/>
            </a:xfrm>
            <a:prstGeom prst="rect">
              <a:avLst/>
            </a:prstGeom>
            <a:solidFill>
              <a:srgbClr val="00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>
                <a:solidFill>
                  <a:srgbClr val="FFFFFF"/>
                </a:solidFill>
              </a:endParaRPr>
            </a:p>
          </p:txBody>
        </p:sp>
        <p:sp>
          <p:nvSpPr>
            <p:cNvPr id="66" name="Rectangle 387"/>
            <p:cNvSpPr>
              <a:spLocks noChangeArrowheads="1"/>
            </p:cNvSpPr>
            <p:nvPr/>
          </p:nvSpPr>
          <p:spPr bwMode="auto">
            <a:xfrm>
              <a:off x="2963" y="2879"/>
              <a:ext cx="73" cy="76"/>
            </a:xfrm>
            <a:prstGeom prst="rect">
              <a:avLst/>
            </a:prstGeom>
            <a:solidFill>
              <a:srgbClr val="00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>
                <a:solidFill>
                  <a:srgbClr val="FFFFFF"/>
                </a:solidFill>
              </a:endParaRPr>
            </a:p>
          </p:txBody>
        </p:sp>
        <p:sp>
          <p:nvSpPr>
            <p:cNvPr id="67" name="Rectangle 388"/>
            <p:cNvSpPr>
              <a:spLocks noChangeArrowheads="1"/>
            </p:cNvSpPr>
            <p:nvPr/>
          </p:nvSpPr>
          <p:spPr bwMode="auto">
            <a:xfrm>
              <a:off x="2429" y="2751"/>
              <a:ext cx="59" cy="60"/>
            </a:xfrm>
            <a:prstGeom prst="rect">
              <a:avLst/>
            </a:prstGeom>
            <a:solidFill>
              <a:srgbClr val="00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>
                <a:solidFill>
                  <a:srgbClr val="FFFFFF"/>
                </a:solidFill>
              </a:endParaRPr>
            </a:p>
          </p:txBody>
        </p:sp>
        <p:sp>
          <p:nvSpPr>
            <p:cNvPr id="68" name="Rectangle 389"/>
            <p:cNvSpPr>
              <a:spLocks noChangeArrowheads="1"/>
            </p:cNvSpPr>
            <p:nvPr/>
          </p:nvSpPr>
          <p:spPr bwMode="auto">
            <a:xfrm>
              <a:off x="2341" y="2666"/>
              <a:ext cx="88" cy="85"/>
            </a:xfrm>
            <a:prstGeom prst="rect">
              <a:avLst/>
            </a:prstGeom>
            <a:solidFill>
              <a:srgbClr val="00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>
                <a:solidFill>
                  <a:srgbClr val="FFFFFF"/>
                </a:solidFill>
              </a:endParaRPr>
            </a:p>
          </p:txBody>
        </p:sp>
        <p:sp>
          <p:nvSpPr>
            <p:cNvPr id="69" name="Rectangle 390"/>
            <p:cNvSpPr>
              <a:spLocks noChangeArrowheads="1"/>
            </p:cNvSpPr>
            <p:nvPr/>
          </p:nvSpPr>
          <p:spPr bwMode="auto">
            <a:xfrm>
              <a:off x="2429" y="2626"/>
              <a:ext cx="40" cy="40"/>
            </a:xfrm>
            <a:prstGeom prst="rect">
              <a:avLst/>
            </a:prstGeom>
            <a:solidFill>
              <a:srgbClr val="00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>
                <a:solidFill>
                  <a:srgbClr val="FFFFFF"/>
                </a:solidFill>
              </a:endParaRPr>
            </a:p>
          </p:txBody>
        </p:sp>
        <p:sp>
          <p:nvSpPr>
            <p:cNvPr id="70" name="Rectangle 391"/>
            <p:cNvSpPr>
              <a:spLocks noChangeArrowheads="1"/>
            </p:cNvSpPr>
            <p:nvPr/>
          </p:nvSpPr>
          <p:spPr bwMode="auto">
            <a:xfrm>
              <a:off x="2391" y="2881"/>
              <a:ext cx="40" cy="41"/>
            </a:xfrm>
            <a:prstGeom prst="rect">
              <a:avLst/>
            </a:prstGeom>
            <a:solidFill>
              <a:srgbClr val="00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>
                <a:solidFill>
                  <a:srgbClr val="FFFFFF"/>
                </a:solidFill>
              </a:endParaRPr>
            </a:p>
          </p:txBody>
        </p:sp>
        <p:sp>
          <p:nvSpPr>
            <p:cNvPr id="71" name="Rectangle 392"/>
            <p:cNvSpPr>
              <a:spLocks noChangeArrowheads="1"/>
            </p:cNvSpPr>
            <p:nvPr/>
          </p:nvSpPr>
          <p:spPr bwMode="auto">
            <a:xfrm>
              <a:off x="2899" y="2612"/>
              <a:ext cx="78" cy="78"/>
            </a:xfrm>
            <a:prstGeom prst="rect">
              <a:avLst/>
            </a:prstGeom>
            <a:solidFill>
              <a:srgbClr val="00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>
                <a:solidFill>
                  <a:srgbClr val="FFFFFF"/>
                </a:solidFill>
              </a:endParaRPr>
            </a:p>
          </p:txBody>
        </p:sp>
        <p:sp>
          <p:nvSpPr>
            <p:cNvPr id="72" name="Rectangle 393"/>
            <p:cNvSpPr>
              <a:spLocks noChangeArrowheads="1"/>
            </p:cNvSpPr>
            <p:nvPr/>
          </p:nvSpPr>
          <p:spPr bwMode="auto">
            <a:xfrm>
              <a:off x="2977" y="2555"/>
              <a:ext cx="57" cy="57"/>
            </a:xfrm>
            <a:prstGeom prst="rect">
              <a:avLst/>
            </a:prstGeom>
            <a:solidFill>
              <a:srgbClr val="00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>
                <a:solidFill>
                  <a:srgbClr val="FFFFFF"/>
                </a:solidFill>
              </a:endParaRPr>
            </a:p>
          </p:txBody>
        </p:sp>
        <p:sp>
          <p:nvSpPr>
            <p:cNvPr id="73" name="Rectangle 394"/>
            <p:cNvSpPr>
              <a:spLocks noChangeArrowheads="1"/>
            </p:cNvSpPr>
            <p:nvPr/>
          </p:nvSpPr>
          <p:spPr bwMode="auto">
            <a:xfrm>
              <a:off x="2816" y="2511"/>
              <a:ext cx="55" cy="54"/>
            </a:xfrm>
            <a:prstGeom prst="rect">
              <a:avLst/>
            </a:prstGeom>
            <a:solidFill>
              <a:srgbClr val="00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>
                <a:solidFill>
                  <a:srgbClr val="FFFFFF"/>
                </a:solidFill>
              </a:endParaRPr>
            </a:p>
          </p:txBody>
        </p:sp>
        <p:sp>
          <p:nvSpPr>
            <p:cNvPr id="74" name="Rectangle 395"/>
            <p:cNvSpPr>
              <a:spLocks noChangeArrowheads="1"/>
            </p:cNvSpPr>
            <p:nvPr/>
          </p:nvSpPr>
          <p:spPr bwMode="auto">
            <a:xfrm>
              <a:off x="2518" y="2548"/>
              <a:ext cx="90" cy="90"/>
            </a:xfrm>
            <a:prstGeom prst="rect">
              <a:avLst/>
            </a:prstGeom>
            <a:solidFill>
              <a:srgbClr val="00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>
                <a:solidFill>
                  <a:srgbClr val="FFFFFF"/>
                </a:solidFill>
              </a:endParaRPr>
            </a:p>
          </p:txBody>
        </p:sp>
        <p:sp>
          <p:nvSpPr>
            <p:cNvPr id="75" name="Rectangle 396"/>
            <p:cNvSpPr>
              <a:spLocks noChangeArrowheads="1"/>
            </p:cNvSpPr>
            <p:nvPr/>
          </p:nvSpPr>
          <p:spPr bwMode="auto">
            <a:xfrm>
              <a:off x="2660" y="2879"/>
              <a:ext cx="45" cy="45"/>
            </a:xfrm>
            <a:prstGeom prst="rect">
              <a:avLst/>
            </a:prstGeom>
            <a:solidFill>
              <a:srgbClr val="00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>
                <a:solidFill>
                  <a:srgbClr val="FFFFFF"/>
                </a:solidFill>
              </a:endParaRPr>
            </a:p>
          </p:txBody>
        </p:sp>
        <p:sp>
          <p:nvSpPr>
            <p:cNvPr id="76" name="Rectangle 397"/>
            <p:cNvSpPr>
              <a:spLocks noChangeArrowheads="1"/>
            </p:cNvSpPr>
            <p:nvPr/>
          </p:nvSpPr>
          <p:spPr bwMode="auto">
            <a:xfrm>
              <a:off x="2705" y="2811"/>
              <a:ext cx="69" cy="68"/>
            </a:xfrm>
            <a:prstGeom prst="rect">
              <a:avLst/>
            </a:prstGeom>
            <a:solidFill>
              <a:srgbClr val="00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78" name="Group 442"/>
          <p:cNvGrpSpPr>
            <a:grpSpLocks/>
          </p:cNvGrpSpPr>
          <p:nvPr/>
        </p:nvGrpSpPr>
        <p:grpSpPr bwMode="auto">
          <a:xfrm>
            <a:off x="6466581" y="5462829"/>
            <a:ext cx="582613" cy="579438"/>
            <a:chOff x="160" y="3732"/>
            <a:chExt cx="347" cy="345"/>
          </a:xfrm>
        </p:grpSpPr>
        <p:sp>
          <p:nvSpPr>
            <p:cNvPr id="79" name="Freeform 440"/>
            <p:cNvSpPr>
              <a:spLocks/>
            </p:cNvSpPr>
            <p:nvPr/>
          </p:nvSpPr>
          <p:spPr bwMode="auto">
            <a:xfrm>
              <a:off x="214" y="3813"/>
              <a:ext cx="241" cy="217"/>
            </a:xfrm>
            <a:custGeom>
              <a:avLst/>
              <a:gdLst>
                <a:gd name="T0" fmla="*/ 2741 w 102"/>
                <a:gd name="T1" fmla="*/ 1458 h 92"/>
                <a:gd name="T2" fmla="*/ 2429 w 102"/>
                <a:gd name="T3" fmla="*/ 1642 h 92"/>
                <a:gd name="T4" fmla="*/ 1307 w 102"/>
                <a:gd name="T5" fmla="*/ 984 h 92"/>
                <a:gd name="T6" fmla="*/ 1373 w 102"/>
                <a:gd name="T7" fmla="*/ 684 h 92"/>
                <a:gd name="T8" fmla="*/ 2122 w 102"/>
                <a:gd name="T9" fmla="*/ 590 h 92"/>
                <a:gd name="T10" fmla="*/ 2519 w 102"/>
                <a:gd name="T11" fmla="*/ 889 h 92"/>
                <a:gd name="T12" fmla="*/ 2953 w 102"/>
                <a:gd name="T13" fmla="*/ 462 h 92"/>
                <a:gd name="T14" fmla="*/ 2519 w 102"/>
                <a:gd name="T15" fmla="*/ 66 h 92"/>
                <a:gd name="T16" fmla="*/ 2122 w 102"/>
                <a:gd name="T17" fmla="*/ 434 h 92"/>
                <a:gd name="T18" fmla="*/ 1373 w 102"/>
                <a:gd name="T19" fmla="*/ 524 h 92"/>
                <a:gd name="T20" fmla="*/ 688 w 102"/>
                <a:gd name="T21" fmla="*/ 0 h 92"/>
                <a:gd name="T22" fmla="*/ 0 w 102"/>
                <a:gd name="T23" fmla="*/ 684 h 92"/>
                <a:gd name="T24" fmla="*/ 688 w 102"/>
                <a:gd name="T25" fmla="*/ 1392 h 92"/>
                <a:gd name="T26" fmla="*/ 754 w 102"/>
                <a:gd name="T27" fmla="*/ 1363 h 92"/>
                <a:gd name="T28" fmla="*/ 938 w 102"/>
                <a:gd name="T29" fmla="*/ 2047 h 92"/>
                <a:gd name="T30" fmla="*/ 714 w 102"/>
                <a:gd name="T31" fmla="*/ 2415 h 92"/>
                <a:gd name="T32" fmla="*/ 1151 w 102"/>
                <a:gd name="T33" fmla="*/ 2849 h 92"/>
                <a:gd name="T34" fmla="*/ 1585 w 102"/>
                <a:gd name="T35" fmla="*/ 2415 h 92"/>
                <a:gd name="T36" fmla="*/ 1151 w 102"/>
                <a:gd name="T37" fmla="*/ 1981 h 92"/>
                <a:gd name="T38" fmla="*/ 1122 w 102"/>
                <a:gd name="T39" fmla="*/ 2007 h 92"/>
                <a:gd name="T40" fmla="*/ 938 w 102"/>
                <a:gd name="T41" fmla="*/ 1323 h 92"/>
                <a:gd name="T42" fmla="*/ 1212 w 102"/>
                <a:gd name="T43" fmla="*/ 1113 h 92"/>
                <a:gd name="T44" fmla="*/ 2334 w 102"/>
                <a:gd name="T45" fmla="*/ 1797 h 92"/>
                <a:gd name="T46" fmla="*/ 2334 w 102"/>
                <a:gd name="T47" fmla="*/ 1892 h 92"/>
                <a:gd name="T48" fmla="*/ 2741 w 102"/>
                <a:gd name="T49" fmla="*/ 2321 h 92"/>
                <a:gd name="T50" fmla="*/ 3176 w 102"/>
                <a:gd name="T51" fmla="*/ 1892 h 92"/>
                <a:gd name="T52" fmla="*/ 2741 w 102"/>
                <a:gd name="T53" fmla="*/ 1458 h 9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02"/>
                <a:gd name="T82" fmla="*/ 0 h 92"/>
                <a:gd name="T83" fmla="*/ 102 w 102"/>
                <a:gd name="T84" fmla="*/ 92 h 92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02" h="92">
                  <a:moveTo>
                    <a:pt x="88" y="47"/>
                  </a:moveTo>
                  <a:cubicBezTo>
                    <a:pt x="84" y="47"/>
                    <a:pt x="80" y="50"/>
                    <a:pt x="78" y="53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4" y="29"/>
                    <a:pt x="44" y="26"/>
                    <a:pt x="44" y="22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70" y="25"/>
                    <a:pt x="75" y="29"/>
                    <a:pt x="81" y="29"/>
                  </a:cubicBezTo>
                  <a:cubicBezTo>
                    <a:pt x="89" y="29"/>
                    <a:pt x="95" y="23"/>
                    <a:pt x="95" y="15"/>
                  </a:cubicBezTo>
                  <a:cubicBezTo>
                    <a:pt x="95" y="8"/>
                    <a:pt x="89" y="2"/>
                    <a:pt x="81" y="2"/>
                  </a:cubicBezTo>
                  <a:cubicBezTo>
                    <a:pt x="74" y="2"/>
                    <a:pt x="68" y="7"/>
                    <a:pt x="68" y="14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41" y="7"/>
                    <a:pt x="33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34"/>
                    <a:pt x="10" y="45"/>
                    <a:pt x="22" y="45"/>
                  </a:cubicBezTo>
                  <a:cubicBezTo>
                    <a:pt x="23" y="45"/>
                    <a:pt x="24" y="44"/>
                    <a:pt x="24" y="44"/>
                  </a:cubicBezTo>
                  <a:cubicBezTo>
                    <a:pt x="30" y="66"/>
                    <a:pt x="30" y="66"/>
                    <a:pt x="30" y="66"/>
                  </a:cubicBezTo>
                  <a:cubicBezTo>
                    <a:pt x="26" y="69"/>
                    <a:pt x="23" y="73"/>
                    <a:pt x="23" y="78"/>
                  </a:cubicBezTo>
                  <a:cubicBezTo>
                    <a:pt x="23" y="86"/>
                    <a:pt x="29" y="92"/>
                    <a:pt x="37" y="92"/>
                  </a:cubicBezTo>
                  <a:cubicBezTo>
                    <a:pt x="44" y="92"/>
                    <a:pt x="51" y="86"/>
                    <a:pt x="51" y="78"/>
                  </a:cubicBezTo>
                  <a:cubicBezTo>
                    <a:pt x="51" y="71"/>
                    <a:pt x="44" y="64"/>
                    <a:pt x="37" y="64"/>
                  </a:cubicBezTo>
                  <a:cubicBezTo>
                    <a:pt x="36" y="64"/>
                    <a:pt x="36" y="64"/>
                    <a:pt x="36" y="65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4" y="42"/>
                    <a:pt x="37" y="39"/>
                    <a:pt x="39" y="36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9"/>
                    <a:pt x="75" y="60"/>
                    <a:pt x="75" y="61"/>
                  </a:cubicBezTo>
                  <a:cubicBezTo>
                    <a:pt x="75" y="69"/>
                    <a:pt x="81" y="75"/>
                    <a:pt x="88" y="75"/>
                  </a:cubicBezTo>
                  <a:cubicBezTo>
                    <a:pt x="96" y="75"/>
                    <a:pt x="102" y="69"/>
                    <a:pt x="102" y="61"/>
                  </a:cubicBezTo>
                  <a:cubicBezTo>
                    <a:pt x="102" y="54"/>
                    <a:pt x="96" y="47"/>
                    <a:pt x="88" y="47"/>
                  </a:cubicBezTo>
                  <a:close/>
                </a:path>
              </a:pathLst>
            </a:custGeom>
            <a:solidFill>
              <a:srgbClr val="00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PE"/>
            </a:p>
          </p:txBody>
        </p:sp>
        <p:sp>
          <p:nvSpPr>
            <p:cNvPr id="80" name="Freeform 441"/>
            <p:cNvSpPr>
              <a:spLocks noEditPoints="1"/>
            </p:cNvSpPr>
            <p:nvPr/>
          </p:nvSpPr>
          <p:spPr bwMode="auto">
            <a:xfrm>
              <a:off x="160" y="3732"/>
              <a:ext cx="347" cy="345"/>
            </a:xfrm>
            <a:custGeom>
              <a:avLst/>
              <a:gdLst>
                <a:gd name="T0" fmla="*/ 2261 w 147"/>
                <a:gd name="T1" fmla="*/ 0 h 146"/>
                <a:gd name="T2" fmla="*/ 0 w 147"/>
                <a:gd name="T3" fmla="*/ 2283 h 146"/>
                <a:gd name="T4" fmla="*/ 2261 w 147"/>
                <a:gd name="T5" fmla="*/ 4551 h 146"/>
                <a:gd name="T6" fmla="*/ 4563 w 147"/>
                <a:gd name="T7" fmla="*/ 2283 h 146"/>
                <a:gd name="T8" fmla="*/ 2261 w 147"/>
                <a:gd name="T9" fmla="*/ 0 h 146"/>
                <a:gd name="T10" fmla="*/ 2261 w 147"/>
                <a:gd name="T11" fmla="*/ 4395 h 146"/>
                <a:gd name="T12" fmla="*/ 156 w 147"/>
                <a:gd name="T13" fmla="*/ 2283 h 146"/>
                <a:gd name="T14" fmla="*/ 2261 w 147"/>
                <a:gd name="T15" fmla="*/ 156 h 146"/>
                <a:gd name="T16" fmla="*/ 4407 w 147"/>
                <a:gd name="T17" fmla="*/ 2283 h 146"/>
                <a:gd name="T18" fmla="*/ 2261 w 147"/>
                <a:gd name="T19" fmla="*/ 4395 h 14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7"/>
                <a:gd name="T31" fmla="*/ 0 h 146"/>
                <a:gd name="T32" fmla="*/ 147 w 147"/>
                <a:gd name="T33" fmla="*/ 146 h 14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7" h="146">
                  <a:moveTo>
                    <a:pt x="73" y="0"/>
                  </a:moveTo>
                  <a:cubicBezTo>
                    <a:pt x="33" y="0"/>
                    <a:pt x="0" y="33"/>
                    <a:pt x="0" y="73"/>
                  </a:cubicBezTo>
                  <a:cubicBezTo>
                    <a:pt x="0" y="113"/>
                    <a:pt x="33" y="146"/>
                    <a:pt x="73" y="146"/>
                  </a:cubicBezTo>
                  <a:cubicBezTo>
                    <a:pt x="114" y="146"/>
                    <a:pt x="147" y="113"/>
                    <a:pt x="147" y="73"/>
                  </a:cubicBezTo>
                  <a:cubicBezTo>
                    <a:pt x="147" y="33"/>
                    <a:pt x="114" y="0"/>
                    <a:pt x="73" y="0"/>
                  </a:cubicBezTo>
                  <a:close/>
                  <a:moveTo>
                    <a:pt x="73" y="141"/>
                  </a:moveTo>
                  <a:cubicBezTo>
                    <a:pt x="36" y="141"/>
                    <a:pt x="5" y="111"/>
                    <a:pt x="5" y="73"/>
                  </a:cubicBezTo>
                  <a:cubicBezTo>
                    <a:pt x="5" y="36"/>
                    <a:pt x="36" y="5"/>
                    <a:pt x="73" y="5"/>
                  </a:cubicBezTo>
                  <a:cubicBezTo>
                    <a:pt x="111" y="5"/>
                    <a:pt x="142" y="36"/>
                    <a:pt x="142" y="73"/>
                  </a:cubicBezTo>
                  <a:cubicBezTo>
                    <a:pt x="142" y="111"/>
                    <a:pt x="111" y="141"/>
                    <a:pt x="73" y="141"/>
                  </a:cubicBezTo>
                  <a:close/>
                </a:path>
              </a:pathLst>
            </a:custGeom>
            <a:solidFill>
              <a:srgbClr val="00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PE"/>
            </a:p>
          </p:txBody>
        </p:sp>
      </p:grpSp>
      <p:sp>
        <p:nvSpPr>
          <p:cNvPr id="96" name="Freeform 446"/>
          <p:cNvSpPr>
            <a:spLocks noEditPoints="1"/>
          </p:cNvSpPr>
          <p:nvPr/>
        </p:nvSpPr>
        <p:spPr bwMode="auto">
          <a:xfrm>
            <a:off x="1022665" y="1515928"/>
            <a:ext cx="617538" cy="566738"/>
          </a:xfrm>
          <a:custGeom>
            <a:avLst/>
            <a:gdLst>
              <a:gd name="T0" fmla="*/ 2147483646 w 181"/>
              <a:gd name="T1" fmla="*/ 2147483646 h 166"/>
              <a:gd name="T2" fmla="*/ 2147483646 w 181"/>
              <a:gd name="T3" fmla="*/ 2147483646 h 166"/>
              <a:gd name="T4" fmla="*/ 2147483646 w 181"/>
              <a:gd name="T5" fmla="*/ 2147483646 h 166"/>
              <a:gd name="T6" fmla="*/ 2147483646 w 181"/>
              <a:gd name="T7" fmla="*/ 2147483646 h 166"/>
              <a:gd name="T8" fmla="*/ 2147483646 w 181"/>
              <a:gd name="T9" fmla="*/ 2147483646 h 166"/>
              <a:gd name="T10" fmla="*/ 2147483646 w 181"/>
              <a:gd name="T11" fmla="*/ 2147483646 h 166"/>
              <a:gd name="T12" fmla="*/ 2147483646 w 181"/>
              <a:gd name="T13" fmla="*/ 2147483646 h 166"/>
              <a:gd name="T14" fmla="*/ 2147483646 w 181"/>
              <a:gd name="T15" fmla="*/ 2147483646 h 166"/>
              <a:gd name="T16" fmla="*/ 2147483646 w 181"/>
              <a:gd name="T17" fmla="*/ 2147483646 h 166"/>
              <a:gd name="T18" fmla="*/ 2147483646 w 181"/>
              <a:gd name="T19" fmla="*/ 2147483646 h 166"/>
              <a:gd name="T20" fmla="*/ 2147483646 w 181"/>
              <a:gd name="T21" fmla="*/ 2147483646 h 166"/>
              <a:gd name="T22" fmla="*/ 2147483646 w 181"/>
              <a:gd name="T23" fmla="*/ 2147483646 h 166"/>
              <a:gd name="T24" fmla="*/ 2147483646 w 181"/>
              <a:gd name="T25" fmla="*/ 2147483646 h 166"/>
              <a:gd name="T26" fmla="*/ 2147483646 w 181"/>
              <a:gd name="T27" fmla="*/ 2147483646 h 166"/>
              <a:gd name="T28" fmla="*/ 2147483646 w 181"/>
              <a:gd name="T29" fmla="*/ 2147483646 h 166"/>
              <a:gd name="T30" fmla="*/ 2147483646 w 181"/>
              <a:gd name="T31" fmla="*/ 2147483646 h 166"/>
              <a:gd name="T32" fmla="*/ 2147483646 w 181"/>
              <a:gd name="T33" fmla="*/ 2147483646 h 166"/>
              <a:gd name="T34" fmla="*/ 2147483646 w 181"/>
              <a:gd name="T35" fmla="*/ 2147483646 h 166"/>
              <a:gd name="T36" fmla="*/ 2147483646 w 181"/>
              <a:gd name="T37" fmla="*/ 2147483646 h 166"/>
              <a:gd name="T38" fmla="*/ 2147483646 w 181"/>
              <a:gd name="T39" fmla="*/ 2147483646 h 166"/>
              <a:gd name="T40" fmla="*/ 2147483646 w 181"/>
              <a:gd name="T41" fmla="*/ 2147483646 h 166"/>
              <a:gd name="T42" fmla="*/ 2147483646 w 181"/>
              <a:gd name="T43" fmla="*/ 2147483646 h 166"/>
              <a:gd name="T44" fmla="*/ 2147483646 w 181"/>
              <a:gd name="T45" fmla="*/ 2147483646 h 166"/>
              <a:gd name="T46" fmla="*/ 2147483646 w 181"/>
              <a:gd name="T47" fmla="*/ 2147483646 h 166"/>
              <a:gd name="T48" fmla="*/ 2147483646 w 181"/>
              <a:gd name="T49" fmla="*/ 2147483646 h 166"/>
              <a:gd name="T50" fmla="*/ 2147483646 w 181"/>
              <a:gd name="T51" fmla="*/ 2147483646 h 166"/>
              <a:gd name="T52" fmla="*/ 2147483646 w 181"/>
              <a:gd name="T53" fmla="*/ 2147483646 h 166"/>
              <a:gd name="T54" fmla="*/ 2147483646 w 181"/>
              <a:gd name="T55" fmla="*/ 2147483646 h 166"/>
              <a:gd name="T56" fmla="*/ 2147483646 w 181"/>
              <a:gd name="T57" fmla="*/ 2147483646 h 166"/>
              <a:gd name="T58" fmla="*/ 2147483646 w 181"/>
              <a:gd name="T59" fmla="*/ 2147483646 h 166"/>
              <a:gd name="T60" fmla="*/ 2147483646 w 181"/>
              <a:gd name="T61" fmla="*/ 2147483646 h 166"/>
              <a:gd name="T62" fmla="*/ 2147483646 w 181"/>
              <a:gd name="T63" fmla="*/ 2147483646 h 166"/>
              <a:gd name="T64" fmla="*/ 2147483646 w 181"/>
              <a:gd name="T65" fmla="*/ 2147483646 h 166"/>
              <a:gd name="T66" fmla="*/ 2147483646 w 181"/>
              <a:gd name="T67" fmla="*/ 2147483646 h 166"/>
              <a:gd name="T68" fmla="*/ 2147483646 w 181"/>
              <a:gd name="T69" fmla="*/ 2147483646 h 166"/>
              <a:gd name="T70" fmla="*/ 2147483646 w 181"/>
              <a:gd name="T71" fmla="*/ 2147483646 h 166"/>
              <a:gd name="T72" fmla="*/ 2147483646 w 181"/>
              <a:gd name="T73" fmla="*/ 2147483646 h 166"/>
              <a:gd name="T74" fmla="*/ 2147483646 w 181"/>
              <a:gd name="T75" fmla="*/ 2147483646 h 166"/>
              <a:gd name="T76" fmla="*/ 2147483646 w 181"/>
              <a:gd name="T77" fmla="*/ 2147483646 h 166"/>
              <a:gd name="T78" fmla="*/ 2147483646 w 181"/>
              <a:gd name="T79" fmla="*/ 2147483646 h 166"/>
              <a:gd name="T80" fmla="*/ 2147483646 w 181"/>
              <a:gd name="T81" fmla="*/ 2147483646 h 166"/>
              <a:gd name="T82" fmla="*/ 2147483646 w 181"/>
              <a:gd name="T83" fmla="*/ 2147483646 h 166"/>
              <a:gd name="T84" fmla="*/ 2147483646 w 181"/>
              <a:gd name="T85" fmla="*/ 2147483646 h 166"/>
              <a:gd name="T86" fmla="*/ 2147483646 w 181"/>
              <a:gd name="T87" fmla="*/ 2147483646 h 166"/>
              <a:gd name="T88" fmla="*/ 2147483646 w 181"/>
              <a:gd name="T89" fmla="*/ 2147483646 h 166"/>
              <a:gd name="T90" fmla="*/ 2147483646 w 181"/>
              <a:gd name="T91" fmla="*/ 2147483646 h 166"/>
              <a:gd name="T92" fmla="*/ 2147483646 w 181"/>
              <a:gd name="T93" fmla="*/ 2147483646 h 166"/>
              <a:gd name="T94" fmla="*/ 2147483646 w 181"/>
              <a:gd name="T95" fmla="*/ 2147483646 h 166"/>
              <a:gd name="T96" fmla="*/ 2147483646 w 181"/>
              <a:gd name="T97" fmla="*/ 2147483646 h 166"/>
              <a:gd name="T98" fmla="*/ 2147483646 w 181"/>
              <a:gd name="T99" fmla="*/ 2147483646 h 166"/>
              <a:gd name="T100" fmla="*/ 2147483646 w 181"/>
              <a:gd name="T101" fmla="*/ 2147483646 h 166"/>
              <a:gd name="T102" fmla="*/ 2147483646 w 181"/>
              <a:gd name="T103" fmla="*/ 2147483646 h 166"/>
              <a:gd name="T104" fmla="*/ 2147483646 w 181"/>
              <a:gd name="T105" fmla="*/ 2147483646 h 166"/>
              <a:gd name="T106" fmla="*/ 2147483646 w 181"/>
              <a:gd name="T107" fmla="*/ 2147483646 h 166"/>
              <a:gd name="T108" fmla="*/ 2147483646 w 181"/>
              <a:gd name="T109" fmla="*/ 2147483646 h 166"/>
              <a:gd name="T110" fmla="*/ 2147483646 w 181"/>
              <a:gd name="T111" fmla="*/ 2147483646 h 16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81"/>
              <a:gd name="T169" fmla="*/ 0 h 166"/>
              <a:gd name="T170" fmla="*/ 181 w 181"/>
              <a:gd name="T171" fmla="*/ 166 h 16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81" h="166">
                <a:moveTo>
                  <a:pt x="41" y="120"/>
                </a:moveTo>
                <a:cubicBezTo>
                  <a:pt x="35" y="120"/>
                  <a:pt x="30" y="125"/>
                  <a:pt x="30" y="130"/>
                </a:cubicBezTo>
                <a:cubicBezTo>
                  <a:pt x="30" y="136"/>
                  <a:pt x="35" y="141"/>
                  <a:pt x="41" y="141"/>
                </a:cubicBezTo>
                <a:cubicBezTo>
                  <a:pt x="46" y="141"/>
                  <a:pt x="51" y="136"/>
                  <a:pt x="51" y="130"/>
                </a:cubicBezTo>
                <a:cubicBezTo>
                  <a:pt x="51" y="125"/>
                  <a:pt x="46" y="120"/>
                  <a:pt x="41" y="120"/>
                </a:cubicBezTo>
                <a:close/>
                <a:moveTo>
                  <a:pt x="41" y="136"/>
                </a:moveTo>
                <a:cubicBezTo>
                  <a:pt x="37" y="136"/>
                  <a:pt x="35" y="134"/>
                  <a:pt x="35" y="130"/>
                </a:cubicBezTo>
                <a:cubicBezTo>
                  <a:pt x="35" y="127"/>
                  <a:pt x="37" y="124"/>
                  <a:pt x="41" y="124"/>
                </a:cubicBezTo>
                <a:cubicBezTo>
                  <a:pt x="44" y="124"/>
                  <a:pt x="47" y="127"/>
                  <a:pt x="47" y="130"/>
                </a:cubicBezTo>
                <a:cubicBezTo>
                  <a:pt x="47" y="134"/>
                  <a:pt x="44" y="136"/>
                  <a:pt x="41" y="136"/>
                </a:cubicBezTo>
                <a:close/>
                <a:moveTo>
                  <a:pt x="92" y="120"/>
                </a:moveTo>
                <a:cubicBezTo>
                  <a:pt x="87" y="120"/>
                  <a:pt x="82" y="125"/>
                  <a:pt x="82" y="130"/>
                </a:cubicBezTo>
                <a:cubicBezTo>
                  <a:pt x="82" y="136"/>
                  <a:pt x="87" y="141"/>
                  <a:pt x="92" y="141"/>
                </a:cubicBezTo>
                <a:cubicBezTo>
                  <a:pt x="98" y="141"/>
                  <a:pt x="103" y="136"/>
                  <a:pt x="103" y="130"/>
                </a:cubicBezTo>
                <a:cubicBezTo>
                  <a:pt x="103" y="125"/>
                  <a:pt x="98" y="120"/>
                  <a:pt x="92" y="120"/>
                </a:cubicBezTo>
                <a:close/>
                <a:moveTo>
                  <a:pt x="92" y="136"/>
                </a:moveTo>
                <a:cubicBezTo>
                  <a:pt x="89" y="136"/>
                  <a:pt x="86" y="134"/>
                  <a:pt x="86" y="130"/>
                </a:cubicBezTo>
                <a:cubicBezTo>
                  <a:pt x="86" y="127"/>
                  <a:pt x="89" y="124"/>
                  <a:pt x="92" y="124"/>
                </a:cubicBezTo>
                <a:cubicBezTo>
                  <a:pt x="96" y="124"/>
                  <a:pt x="98" y="127"/>
                  <a:pt x="98" y="130"/>
                </a:cubicBezTo>
                <a:cubicBezTo>
                  <a:pt x="98" y="134"/>
                  <a:pt x="96" y="136"/>
                  <a:pt x="92" y="136"/>
                </a:cubicBezTo>
                <a:close/>
                <a:moveTo>
                  <a:pt x="119" y="120"/>
                </a:moveTo>
                <a:cubicBezTo>
                  <a:pt x="113" y="120"/>
                  <a:pt x="109" y="125"/>
                  <a:pt x="109" y="130"/>
                </a:cubicBezTo>
                <a:cubicBezTo>
                  <a:pt x="109" y="136"/>
                  <a:pt x="113" y="141"/>
                  <a:pt x="119" y="141"/>
                </a:cubicBezTo>
                <a:cubicBezTo>
                  <a:pt x="125" y="141"/>
                  <a:pt x="129" y="136"/>
                  <a:pt x="129" y="130"/>
                </a:cubicBezTo>
                <a:cubicBezTo>
                  <a:pt x="129" y="125"/>
                  <a:pt x="125" y="120"/>
                  <a:pt x="119" y="120"/>
                </a:cubicBezTo>
                <a:close/>
                <a:moveTo>
                  <a:pt x="119" y="136"/>
                </a:moveTo>
                <a:cubicBezTo>
                  <a:pt x="116" y="136"/>
                  <a:pt x="113" y="134"/>
                  <a:pt x="113" y="130"/>
                </a:cubicBezTo>
                <a:cubicBezTo>
                  <a:pt x="113" y="127"/>
                  <a:pt x="116" y="124"/>
                  <a:pt x="119" y="124"/>
                </a:cubicBezTo>
                <a:cubicBezTo>
                  <a:pt x="122" y="124"/>
                  <a:pt x="125" y="127"/>
                  <a:pt x="125" y="130"/>
                </a:cubicBezTo>
                <a:cubicBezTo>
                  <a:pt x="125" y="134"/>
                  <a:pt x="122" y="136"/>
                  <a:pt x="119" y="136"/>
                </a:cubicBezTo>
                <a:close/>
                <a:moveTo>
                  <a:pt x="5" y="140"/>
                </a:moveTo>
                <a:cubicBezTo>
                  <a:pt x="10" y="140"/>
                  <a:pt x="10" y="140"/>
                  <a:pt x="10" y="140"/>
                </a:cubicBezTo>
                <a:cubicBezTo>
                  <a:pt x="10" y="120"/>
                  <a:pt x="10" y="120"/>
                  <a:pt x="10" y="120"/>
                </a:cubicBezTo>
                <a:cubicBezTo>
                  <a:pt x="5" y="120"/>
                  <a:pt x="5" y="120"/>
                  <a:pt x="5" y="120"/>
                </a:cubicBezTo>
                <a:lnTo>
                  <a:pt x="5" y="140"/>
                </a:lnTo>
                <a:close/>
                <a:moveTo>
                  <a:pt x="19" y="140"/>
                </a:moveTo>
                <a:cubicBezTo>
                  <a:pt x="24" y="140"/>
                  <a:pt x="24" y="140"/>
                  <a:pt x="24" y="140"/>
                </a:cubicBezTo>
                <a:cubicBezTo>
                  <a:pt x="24" y="120"/>
                  <a:pt x="24" y="120"/>
                  <a:pt x="24" y="120"/>
                </a:cubicBezTo>
                <a:cubicBezTo>
                  <a:pt x="19" y="120"/>
                  <a:pt x="19" y="120"/>
                  <a:pt x="19" y="120"/>
                </a:cubicBezTo>
                <a:lnTo>
                  <a:pt x="19" y="140"/>
                </a:lnTo>
                <a:close/>
                <a:moveTo>
                  <a:pt x="57" y="140"/>
                </a:moveTo>
                <a:cubicBezTo>
                  <a:pt x="61" y="140"/>
                  <a:pt x="61" y="140"/>
                  <a:pt x="61" y="14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7" y="120"/>
                  <a:pt x="57" y="120"/>
                  <a:pt x="57" y="120"/>
                </a:cubicBezTo>
                <a:lnTo>
                  <a:pt x="57" y="140"/>
                </a:lnTo>
                <a:close/>
                <a:moveTo>
                  <a:pt x="69" y="140"/>
                </a:moveTo>
                <a:cubicBezTo>
                  <a:pt x="74" y="140"/>
                  <a:pt x="74" y="140"/>
                  <a:pt x="74" y="140"/>
                </a:cubicBezTo>
                <a:cubicBezTo>
                  <a:pt x="74" y="120"/>
                  <a:pt x="74" y="120"/>
                  <a:pt x="74" y="120"/>
                </a:cubicBezTo>
                <a:cubicBezTo>
                  <a:pt x="69" y="120"/>
                  <a:pt x="69" y="120"/>
                  <a:pt x="69" y="120"/>
                </a:cubicBezTo>
                <a:lnTo>
                  <a:pt x="69" y="140"/>
                </a:lnTo>
                <a:close/>
                <a:moveTo>
                  <a:pt x="10" y="90"/>
                </a:moveTo>
                <a:cubicBezTo>
                  <a:pt x="4" y="90"/>
                  <a:pt x="0" y="94"/>
                  <a:pt x="0" y="100"/>
                </a:cubicBezTo>
                <a:cubicBezTo>
                  <a:pt x="0" y="105"/>
                  <a:pt x="4" y="110"/>
                  <a:pt x="10" y="110"/>
                </a:cubicBezTo>
                <a:cubicBezTo>
                  <a:pt x="15" y="110"/>
                  <a:pt x="20" y="105"/>
                  <a:pt x="20" y="100"/>
                </a:cubicBezTo>
                <a:cubicBezTo>
                  <a:pt x="20" y="94"/>
                  <a:pt x="15" y="90"/>
                  <a:pt x="10" y="90"/>
                </a:cubicBezTo>
                <a:close/>
                <a:moveTo>
                  <a:pt x="10" y="106"/>
                </a:moveTo>
                <a:cubicBezTo>
                  <a:pt x="7" y="106"/>
                  <a:pt x="4" y="103"/>
                  <a:pt x="4" y="100"/>
                </a:cubicBezTo>
                <a:cubicBezTo>
                  <a:pt x="4" y="96"/>
                  <a:pt x="7" y="94"/>
                  <a:pt x="10" y="94"/>
                </a:cubicBezTo>
                <a:cubicBezTo>
                  <a:pt x="13" y="94"/>
                  <a:pt x="16" y="96"/>
                  <a:pt x="16" y="100"/>
                </a:cubicBezTo>
                <a:cubicBezTo>
                  <a:pt x="16" y="103"/>
                  <a:pt x="13" y="106"/>
                  <a:pt x="10" y="106"/>
                </a:cubicBezTo>
                <a:close/>
                <a:moveTo>
                  <a:pt x="57" y="98"/>
                </a:moveTo>
                <a:cubicBezTo>
                  <a:pt x="56" y="94"/>
                  <a:pt x="54" y="91"/>
                  <a:pt x="50" y="90"/>
                </a:cubicBezTo>
                <a:cubicBezTo>
                  <a:pt x="49" y="90"/>
                  <a:pt x="48" y="90"/>
                  <a:pt x="47" y="90"/>
                </a:cubicBezTo>
                <a:cubicBezTo>
                  <a:pt x="41" y="90"/>
                  <a:pt x="37" y="94"/>
                  <a:pt x="37" y="100"/>
                </a:cubicBezTo>
                <a:cubicBezTo>
                  <a:pt x="37" y="105"/>
                  <a:pt x="41" y="110"/>
                  <a:pt x="47" y="110"/>
                </a:cubicBezTo>
                <a:cubicBezTo>
                  <a:pt x="53" y="110"/>
                  <a:pt x="57" y="105"/>
                  <a:pt x="57" y="100"/>
                </a:cubicBezTo>
                <a:cubicBezTo>
                  <a:pt x="57" y="99"/>
                  <a:pt x="57" y="99"/>
                  <a:pt x="57" y="98"/>
                </a:cubicBezTo>
                <a:close/>
                <a:moveTo>
                  <a:pt x="47" y="106"/>
                </a:moveTo>
                <a:cubicBezTo>
                  <a:pt x="44" y="106"/>
                  <a:pt x="41" y="103"/>
                  <a:pt x="41" y="100"/>
                </a:cubicBezTo>
                <a:cubicBezTo>
                  <a:pt x="41" y="96"/>
                  <a:pt x="44" y="94"/>
                  <a:pt x="47" y="94"/>
                </a:cubicBezTo>
                <a:cubicBezTo>
                  <a:pt x="50" y="94"/>
                  <a:pt x="53" y="96"/>
                  <a:pt x="53" y="100"/>
                </a:cubicBezTo>
                <a:cubicBezTo>
                  <a:pt x="53" y="103"/>
                  <a:pt x="50" y="106"/>
                  <a:pt x="47" y="106"/>
                </a:cubicBezTo>
                <a:close/>
                <a:moveTo>
                  <a:pt x="31" y="90"/>
                </a:moveTo>
                <a:cubicBezTo>
                  <a:pt x="27" y="90"/>
                  <a:pt x="27" y="90"/>
                  <a:pt x="27" y="90"/>
                </a:cubicBezTo>
                <a:cubicBezTo>
                  <a:pt x="27" y="110"/>
                  <a:pt x="27" y="110"/>
                  <a:pt x="27" y="110"/>
                </a:cubicBezTo>
                <a:cubicBezTo>
                  <a:pt x="31" y="110"/>
                  <a:pt x="31" y="110"/>
                  <a:pt x="31" y="110"/>
                </a:cubicBezTo>
                <a:lnTo>
                  <a:pt x="31" y="90"/>
                </a:lnTo>
                <a:close/>
                <a:moveTo>
                  <a:pt x="64" y="110"/>
                </a:moveTo>
                <a:cubicBezTo>
                  <a:pt x="68" y="110"/>
                  <a:pt x="68" y="110"/>
                  <a:pt x="68" y="110"/>
                </a:cubicBezTo>
                <a:cubicBezTo>
                  <a:pt x="68" y="106"/>
                  <a:pt x="68" y="106"/>
                  <a:pt x="68" y="106"/>
                </a:cubicBezTo>
                <a:cubicBezTo>
                  <a:pt x="66" y="106"/>
                  <a:pt x="65" y="105"/>
                  <a:pt x="64" y="104"/>
                </a:cubicBezTo>
                <a:lnTo>
                  <a:pt x="64" y="110"/>
                </a:lnTo>
                <a:close/>
                <a:moveTo>
                  <a:pt x="27" y="80"/>
                </a:moveTo>
                <a:cubicBezTo>
                  <a:pt x="33" y="80"/>
                  <a:pt x="37" y="75"/>
                  <a:pt x="37" y="69"/>
                </a:cubicBezTo>
                <a:cubicBezTo>
                  <a:pt x="37" y="64"/>
                  <a:pt x="33" y="59"/>
                  <a:pt x="27" y="59"/>
                </a:cubicBezTo>
                <a:cubicBezTo>
                  <a:pt x="22" y="59"/>
                  <a:pt x="17" y="64"/>
                  <a:pt x="17" y="69"/>
                </a:cubicBezTo>
                <a:cubicBezTo>
                  <a:pt x="17" y="75"/>
                  <a:pt x="22" y="80"/>
                  <a:pt x="27" y="80"/>
                </a:cubicBezTo>
                <a:close/>
                <a:moveTo>
                  <a:pt x="27" y="63"/>
                </a:moveTo>
                <a:cubicBezTo>
                  <a:pt x="31" y="63"/>
                  <a:pt x="33" y="66"/>
                  <a:pt x="33" y="69"/>
                </a:cubicBezTo>
                <a:cubicBezTo>
                  <a:pt x="33" y="73"/>
                  <a:pt x="31" y="75"/>
                  <a:pt x="27" y="75"/>
                </a:cubicBezTo>
                <a:cubicBezTo>
                  <a:pt x="24" y="75"/>
                  <a:pt x="21" y="73"/>
                  <a:pt x="21" y="69"/>
                </a:cubicBezTo>
                <a:cubicBezTo>
                  <a:pt x="21" y="66"/>
                  <a:pt x="24" y="63"/>
                  <a:pt x="27" y="63"/>
                </a:cubicBezTo>
                <a:close/>
                <a:moveTo>
                  <a:pt x="10" y="59"/>
                </a:moveTo>
                <a:cubicBezTo>
                  <a:pt x="5" y="59"/>
                  <a:pt x="5" y="59"/>
                  <a:pt x="5" y="59"/>
                </a:cubicBezTo>
                <a:cubicBezTo>
                  <a:pt x="5" y="79"/>
                  <a:pt x="5" y="79"/>
                  <a:pt x="5" y="79"/>
                </a:cubicBezTo>
                <a:cubicBezTo>
                  <a:pt x="10" y="79"/>
                  <a:pt x="10" y="79"/>
                  <a:pt x="10" y="79"/>
                </a:cubicBezTo>
                <a:lnTo>
                  <a:pt x="10" y="59"/>
                </a:lnTo>
                <a:close/>
                <a:moveTo>
                  <a:pt x="129" y="99"/>
                </a:moveTo>
                <a:cubicBezTo>
                  <a:pt x="141" y="91"/>
                  <a:pt x="149" y="79"/>
                  <a:pt x="151" y="64"/>
                </a:cubicBezTo>
                <a:cubicBezTo>
                  <a:pt x="154" y="50"/>
                  <a:pt x="151" y="36"/>
                  <a:pt x="142" y="24"/>
                </a:cubicBezTo>
                <a:cubicBezTo>
                  <a:pt x="134" y="13"/>
                  <a:pt x="122" y="5"/>
                  <a:pt x="108" y="2"/>
                </a:cubicBezTo>
                <a:cubicBezTo>
                  <a:pt x="94" y="0"/>
                  <a:pt x="79" y="3"/>
                  <a:pt x="68" y="11"/>
                </a:cubicBezTo>
                <a:cubicBezTo>
                  <a:pt x="44" y="28"/>
                  <a:pt x="38" y="62"/>
                  <a:pt x="55" y="86"/>
                </a:cubicBezTo>
                <a:cubicBezTo>
                  <a:pt x="57" y="90"/>
                  <a:pt x="60" y="93"/>
                  <a:pt x="64" y="96"/>
                </a:cubicBezTo>
                <a:cubicBezTo>
                  <a:pt x="65" y="97"/>
                  <a:pt x="66" y="98"/>
                  <a:pt x="68" y="99"/>
                </a:cubicBezTo>
                <a:cubicBezTo>
                  <a:pt x="74" y="104"/>
                  <a:pt x="81" y="107"/>
                  <a:pt x="89" y="108"/>
                </a:cubicBezTo>
                <a:cubicBezTo>
                  <a:pt x="103" y="110"/>
                  <a:pt x="118" y="107"/>
                  <a:pt x="129" y="99"/>
                </a:cubicBezTo>
                <a:close/>
                <a:moveTo>
                  <a:pt x="69" y="90"/>
                </a:moveTo>
                <a:cubicBezTo>
                  <a:pt x="62" y="84"/>
                  <a:pt x="56" y="75"/>
                  <a:pt x="54" y="66"/>
                </a:cubicBezTo>
                <a:cubicBezTo>
                  <a:pt x="54" y="66"/>
                  <a:pt x="54" y="65"/>
                  <a:pt x="54" y="65"/>
                </a:cubicBezTo>
                <a:cubicBezTo>
                  <a:pt x="54" y="64"/>
                  <a:pt x="53" y="62"/>
                  <a:pt x="53" y="60"/>
                </a:cubicBezTo>
                <a:cubicBezTo>
                  <a:pt x="53" y="60"/>
                  <a:pt x="53" y="60"/>
                  <a:pt x="53" y="60"/>
                </a:cubicBezTo>
                <a:cubicBezTo>
                  <a:pt x="53" y="59"/>
                  <a:pt x="53" y="57"/>
                  <a:pt x="53" y="56"/>
                </a:cubicBezTo>
                <a:cubicBezTo>
                  <a:pt x="53" y="55"/>
                  <a:pt x="53" y="55"/>
                  <a:pt x="53" y="55"/>
                </a:cubicBezTo>
                <a:cubicBezTo>
                  <a:pt x="53" y="53"/>
                  <a:pt x="53" y="52"/>
                  <a:pt x="53" y="51"/>
                </a:cubicBezTo>
                <a:cubicBezTo>
                  <a:pt x="53" y="50"/>
                  <a:pt x="53" y="50"/>
                  <a:pt x="53" y="50"/>
                </a:cubicBezTo>
                <a:cubicBezTo>
                  <a:pt x="53" y="49"/>
                  <a:pt x="53" y="47"/>
                  <a:pt x="54" y="46"/>
                </a:cubicBezTo>
                <a:cubicBezTo>
                  <a:pt x="54" y="46"/>
                  <a:pt x="54" y="46"/>
                  <a:pt x="54" y="45"/>
                </a:cubicBezTo>
                <a:cubicBezTo>
                  <a:pt x="54" y="45"/>
                  <a:pt x="54" y="45"/>
                  <a:pt x="54" y="45"/>
                </a:cubicBezTo>
                <a:cubicBezTo>
                  <a:pt x="54" y="44"/>
                  <a:pt x="54" y="43"/>
                  <a:pt x="55" y="42"/>
                </a:cubicBezTo>
                <a:cubicBezTo>
                  <a:pt x="55" y="42"/>
                  <a:pt x="55" y="41"/>
                  <a:pt x="55" y="41"/>
                </a:cubicBezTo>
                <a:cubicBezTo>
                  <a:pt x="55" y="40"/>
                  <a:pt x="56" y="39"/>
                  <a:pt x="56" y="37"/>
                </a:cubicBezTo>
                <a:cubicBezTo>
                  <a:pt x="56" y="37"/>
                  <a:pt x="56" y="37"/>
                  <a:pt x="56" y="37"/>
                </a:cubicBezTo>
                <a:cubicBezTo>
                  <a:pt x="58" y="34"/>
                  <a:pt x="60" y="30"/>
                  <a:pt x="62" y="27"/>
                </a:cubicBezTo>
                <a:cubicBezTo>
                  <a:pt x="64" y="24"/>
                  <a:pt x="67" y="22"/>
                  <a:pt x="69" y="20"/>
                </a:cubicBezTo>
                <a:cubicBezTo>
                  <a:pt x="69" y="20"/>
                  <a:pt x="70" y="20"/>
                  <a:pt x="70" y="20"/>
                </a:cubicBezTo>
                <a:cubicBezTo>
                  <a:pt x="78" y="13"/>
                  <a:pt x="88" y="9"/>
                  <a:pt x="98" y="9"/>
                </a:cubicBezTo>
                <a:cubicBezTo>
                  <a:pt x="124" y="9"/>
                  <a:pt x="144" y="30"/>
                  <a:pt x="144" y="55"/>
                </a:cubicBezTo>
                <a:cubicBezTo>
                  <a:pt x="144" y="80"/>
                  <a:pt x="124" y="100"/>
                  <a:pt x="99" y="101"/>
                </a:cubicBezTo>
                <a:cubicBezTo>
                  <a:pt x="99" y="101"/>
                  <a:pt x="99" y="101"/>
                  <a:pt x="98" y="101"/>
                </a:cubicBezTo>
                <a:cubicBezTo>
                  <a:pt x="96" y="101"/>
                  <a:pt x="93" y="101"/>
                  <a:pt x="90" y="100"/>
                </a:cubicBezTo>
                <a:cubicBezTo>
                  <a:pt x="85" y="99"/>
                  <a:pt x="80" y="97"/>
                  <a:pt x="76" y="95"/>
                </a:cubicBezTo>
                <a:cubicBezTo>
                  <a:pt x="73" y="93"/>
                  <a:pt x="71" y="92"/>
                  <a:pt x="69" y="90"/>
                </a:cubicBezTo>
                <a:close/>
                <a:moveTo>
                  <a:pt x="141" y="98"/>
                </a:moveTo>
                <a:cubicBezTo>
                  <a:pt x="140" y="99"/>
                  <a:pt x="140" y="99"/>
                  <a:pt x="140" y="99"/>
                </a:cubicBezTo>
                <a:cubicBezTo>
                  <a:pt x="126" y="108"/>
                  <a:pt x="126" y="108"/>
                  <a:pt x="126" y="108"/>
                </a:cubicBezTo>
                <a:cubicBezTo>
                  <a:pt x="124" y="109"/>
                  <a:pt x="124" y="109"/>
                  <a:pt x="124" y="109"/>
                </a:cubicBezTo>
                <a:cubicBezTo>
                  <a:pt x="164" y="166"/>
                  <a:pt x="164" y="166"/>
                  <a:pt x="164" y="166"/>
                </a:cubicBezTo>
                <a:cubicBezTo>
                  <a:pt x="181" y="154"/>
                  <a:pt x="181" y="154"/>
                  <a:pt x="181" y="154"/>
                </a:cubicBezTo>
                <a:lnTo>
                  <a:pt x="141" y="98"/>
                </a:lnTo>
                <a:close/>
                <a:moveTo>
                  <a:pt x="114" y="66"/>
                </a:moveTo>
                <a:cubicBezTo>
                  <a:pt x="125" y="66"/>
                  <a:pt x="134" y="57"/>
                  <a:pt x="134" y="46"/>
                </a:cubicBezTo>
                <a:cubicBezTo>
                  <a:pt x="134" y="35"/>
                  <a:pt x="125" y="27"/>
                  <a:pt x="114" y="27"/>
                </a:cubicBezTo>
                <a:cubicBezTo>
                  <a:pt x="103" y="27"/>
                  <a:pt x="94" y="35"/>
                  <a:pt x="94" y="46"/>
                </a:cubicBezTo>
                <a:cubicBezTo>
                  <a:pt x="94" y="57"/>
                  <a:pt x="103" y="66"/>
                  <a:pt x="114" y="66"/>
                </a:cubicBezTo>
                <a:close/>
                <a:moveTo>
                  <a:pt x="114" y="35"/>
                </a:moveTo>
                <a:cubicBezTo>
                  <a:pt x="120" y="35"/>
                  <a:pt x="125" y="40"/>
                  <a:pt x="125" y="46"/>
                </a:cubicBezTo>
                <a:cubicBezTo>
                  <a:pt x="125" y="53"/>
                  <a:pt x="120" y="58"/>
                  <a:pt x="114" y="58"/>
                </a:cubicBezTo>
                <a:cubicBezTo>
                  <a:pt x="108" y="58"/>
                  <a:pt x="102" y="53"/>
                  <a:pt x="102" y="46"/>
                </a:cubicBezTo>
                <a:cubicBezTo>
                  <a:pt x="102" y="40"/>
                  <a:pt x="108" y="35"/>
                  <a:pt x="114" y="35"/>
                </a:cubicBezTo>
                <a:close/>
                <a:moveTo>
                  <a:pt x="84" y="27"/>
                </a:moveTo>
                <a:cubicBezTo>
                  <a:pt x="75" y="27"/>
                  <a:pt x="75" y="27"/>
                  <a:pt x="75" y="27"/>
                </a:cubicBezTo>
                <a:cubicBezTo>
                  <a:pt x="75" y="66"/>
                  <a:pt x="75" y="66"/>
                  <a:pt x="75" y="66"/>
                </a:cubicBezTo>
                <a:cubicBezTo>
                  <a:pt x="84" y="66"/>
                  <a:pt x="84" y="66"/>
                  <a:pt x="84" y="66"/>
                </a:cubicBezTo>
                <a:lnTo>
                  <a:pt x="84" y="27"/>
                </a:lnTo>
                <a:close/>
                <a:moveTo>
                  <a:pt x="97" y="95"/>
                </a:moveTo>
                <a:cubicBezTo>
                  <a:pt x="97" y="95"/>
                  <a:pt x="96" y="94"/>
                  <a:pt x="96" y="94"/>
                </a:cubicBezTo>
                <a:cubicBezTo>
                  <a:pt x="92" y="89"/>
                  <a:pt x="87" y="86"/>
                  <a:pt x="80" y="86"/>
                </a:cubicBezTo>
                <a:cubicBezTo>
                  <a:pt x="78" y="86"/>
                  <a:pt x="77" y="86"/>
                  <a:pt x="75" y="87"/>
                </a:cubicBezTo>
                <a:cubicBezTo>
                  <a:pt x="75" y="87"/>
                  <a:pt x="74" y="87"/>
                  <a:pt x="74" y="87"/>
                </a:cubicBezTo>
                <a:cubicBezTo>
                  <a:pt x="73" y="87"/>
                  <a:pt x="73" y="87"/>
                  <a:pt x="72" y="88"/>
                </a:cubicBezTo>
                <a:cubicBezTo>
                  <a:pt x="79" y="93"/>
                  <a:pt x="88" y="97"/>
                  <a:pt x="98" y="97"/>
                </a:cubicBezTo>
                <a:cubicBezTo>
                  <a:pt x="97" y="96"/>
                  <a:pt x="97" y="96"/>
                  <a:pt x="97" y="95"/>
                </a:cubicBezTo>
                <a:close/>
                <a:moveTo>
                  <a:pt x="58" y="66"/>
                </a:moveTo>
                <a:cubicBezTo>
                  <a:pt x="63" y="66"/>
                  <a:pt x="63" y="66"/>
                  <a:pt x="63" y="66"/>
                </a:cubicBezTo>
                <a:cubicBezTo>
                  <a:pt x="63" y="34"/>
                  <a:pt x="63" y="34"/>
                  <a:pt x="63" y="34"/>
                </a:cubicBezTo>
                <a:cubicBezTo>
                  <a:pt x="59" y="40"/>
                  <a:pt x="57" y="47"/>
                  <a:pt x="57" y="55"/>
                </a:cubicBezTo>
                <a:cubicBezTo>
                  <a:pt x="57" y="59"/>
                  <a:pt x="57" y="62"/>
                  <a:pt x="58" y="66"/>
                </a:cubicBezTo>
                <a:close/>
              </a:path>
            </a:pathLst>
          </a:custGeom>
          <a:solidFill>
            <a:srgbClr val="003F6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s-PE"/>
          </a:p>
        </p:txBody>
      </p:sp>
      <p:grpSp>
        <p:nvGrpSpPr>
          <p:cNvPr id="98" name="Group 455"/>
          <p:cNvGrpSpPr>
            <a:grpSpLocks/>
          </p:cNvGrpSpPr>
          <p:nvPr/>
        </p:nvGrpSpPr>
        <p:grpSpPr bwMode="auto">
          <a:xfrm>
            <a:off x="6438864" y="3010145"/>
            <a:ext cx="614362" cy="479425"/>
            <a:chOff x="5600" y="2071"/>
            <a:chExt cx="1255" cy="982"/>
          </a:xfrm>
        </p:grpSpPr>
        <p:sp>
          <p:nvSpPr>
            <p:cNvPr id="99" name="Freeform 450"/>
            <p:cNvSpPr>
              <a:spLocks noEditPoints="1"/>
            </p:cNvSpPr>
            <p:nvPr/>
          </p:nvSpPr>
          <p:spPr bwMode="auto">
            <a:xfrm>
              <a:off x="5634" y="2102"/>
              <a:ext cx="1193" cy="232"/>
            </a:xfrm>
            <a:custGeom>
              <a:avLst/>
              <a:gdLst>
                <a:gd name="T0" fmla="*/ 3445 w 809"/>
                <a:gd name="T1" fmla="*/ 0 h 157"/>
                <a:gd name="T2" fmla="*/ 380 w 809"/>
                <a:gd name="T3" fmla="*/ 0 h 157"/>
                <a:gd name="T4" fmla="*/ 0 w 809"/>
                <a:gd name="T5" fmla="*/ 358 h 157"/>
                <a:gd name="T6" fmla="*/ 0 w 809"/>
                <a:gd name="T7" fmla="*/ 749 h 157"/>
                <a:gd name="T8" fmla="*/ 3825 w 809"/>
                <a:gd name="T9" fmla="*/ 749 h 157"/>
                <a:gd name="T10" fmla="*/ 3825 w 809"/>
                <a:gd name="T11" fmla="*/ 358 h 157"/>
                <a:gd name="T12" fmla="*/ 3445 w 809"/>
                <a:gd name="T13" fmla="*/ 0 h 157"/>
                <a:gd name="T14" fmla="*/ 2668 w 809"/>
                <a:gd name="T15" fmla="*/ 507 h 157"/>
                <a:gd name="T16" fmla="*/ 2392 w 809"/>
                <a:gd name="T17" fmla="*/ 507 h 157"/>
                <a:gd name="T18" fmla="*/ 2392 w 809"/>
                <a:gd name="T19" fmla="*/ 229 h 157"/>
                <a:gd name="T20" fmla="*/ 2668 w 809"/>
                <a:gd name="T21" fmla="*/ 229 h 157"/>
                <a:gd name="T22" fmla="*/ 2668 w 809"/>
                <a:gd name="T23" fmla="*/ 507 h 157"/>
                <a:gd name="T24" fmla="*/ 3128 w 809"/>
                <a:gd name="T25" fmla="*/ 507 h 157"/>
                <a:gd name="T26" fmla="*/ 2851 w 809"/>
                <a:gd name="T27" fmla="*/ 507 h 157"/>
                <a:gd name="T28" fmla="*/ 2851 w 809"/>
                <a:gd name="T29" fmla="*/ 229 h 157"/>
                <a:gd name="T30" fmla="*/ 3128 w 809"/>
                <a:gd name="T31" fmla="*/ 229 h 157"/>
                <a:gd name="T32" fmla="*/ 3128 w 809"/>
                <a:gd name="T33" fmla="*/ 507 h 157"/>
                <a:gd name="T34" fmla="*/ 3607 w 809"/>
                <a:gd name="T35" fmla="*/ 507 h 157"/>
                <a:gd name="T36" fmla="*/ 3336 w 809"/>
                <a:gd name="T37" fmla="*/ 507 h 157"/>
                <a:gd name="T38" fmla="*/ 3336 w 809"/>
                <a:gd name="T39" fmla="*/ 229 h 157"/>
                <a:gd name="T40" fmla="*/ 3607 w 809"/>
                <a:gd name="T41" fmla="*/ 229 h 157"/>
                <a:gd name="T42" fmla="*/ 3607 w 809"/>
                <a:gd name="T43" fmla="*/ 507 h 15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809"/>
                <a:gd name="T67" fmla="*/ 0 h 157"/>
                <a:gd name="T68" fmla="*/ 809 w 809"/>
                <a:gd name="T69" fmla="*/ 157 h 15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809" h="157">
                  <a:moveTo>
                    <a:pt x="728" y="0"/>
                  </a:moveTo>
                  <a:cubicBezTo>
                    <a:pt x="81" y="0"/>
                    <a:pt x="81" y="0"/>
                    <a:pt x="81" y="0"/>
                  </a:cubicBezTo>
                  <a:cubicBezTo>
                    <a:pt x="37" y="0"/>
                    <a:pt x="0" y="34"/>
                    <a:pt x="0" y="75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809" y="157"/>
                    <a:pt x="809" y="157"/>
                    <a:pt x="809" y="157"/>
                  </a:cubicBezTo>
                  <a:cubicBezTo>
                    <a:pt x="809" y="75"/>
                    <a:pt x="809" y="75"/>
                    <a:pt x="809" y="75"/>
                  </a:cubicBezTo>
                  <a:cubicBezTo>
                    <a:pt x="809" y="34"/>
                    <a:pt x="773" y="0"/>
                    <a:pt x="728" y="0"/>
                  </a:cubicBezTo>
                  <a:close/>
                  <a:moveTo>
                    <a:pt x="564" y="106"/>
                  </a:moveTo>
                  <a:cubicBezTo>
                    <a:pt x="506" y="106"/>
                    <a:pt x="506" y="106"/>
                    <a:pt x="506" y="106"/>
                  </a:cubicBezTo>
                  <a:cubicBezTo>
                    <a:pt x="506" y="48"/>
                    <a:pt x="506" y="48"/>
                    <a:pt x="506" y="48"/>
                  </a:cubicBezTo>
                  <a:cubicBezTo>
                    <a:pt x="564" y="48"/>
                    <a:pt x="564" y="48"/>
                    <a:pt x="564" y="48"/>
                  </a:cubicBezTo>
                  <a:lnTo>
                    <a:pt x="564" y="106"/>
                  </a:lnTo>
                  <a:close/>
                  <a:moveTo>
                    <a:pt x="661" y="106"/>
                  </a:moveTo>
                  <a:cubicBezTo>
                    <a:pt x="603" y="106"/>
                    <a:pt x="603" y="106"/>
                    <a:pt x="603" y="106"/>
                  </a:cubicBezTo>
                  <a:cubicBezTo>
                    <a:pt x="603" y="48"/>
                    <a:pt x="603" y="48"/>
                    <a:pt x="603" y="48"/>
                  </a:cubicBezTo>
                  <a:cubicBezTo>
                    <a:pt x="661" y="48"/>
                    <a:pt x="661" y="48"/>
                    <a:pt x="661" y="48"/>
                  </a:cubicBezTo>
                  <a:lnTo>
                    <a:pt x="661" y="106"/>
                  </a:lnTo>
                  <a:close/>
                  <a:moveTo>
                    <a:pt x="763" y="106"/>
                  </a:moveTo>
                  <a:cubicBezTo>
                    <a:pt x="705" y="106"/>
                    <a:pt x="705" y="106"/>
                    <a:pt x="705" y="106"/>
                  </a:cubicBezTo>
                  <a:cubicBezTo>
                    <a:pt x="705" y="48"/>
                    <a:pt x="705" y="48"/>
                    <a:pt x="705" y="48"/>
                  </a:cubicBezTo>
                  <a:cubicBezTo>
                    <a:pt x="763" y="48"/>
                    <a:pt x="763" y="48"/>
                    <a:pt x="763" y="48"/>
                  </a:cubicBezTo>
                  <a:lnTo>
                    <a:pt x="763" y="106"/>
                  </a:lnTo>
                  <a:close/>
                </a:path>
              </a:pathLst>
            </a:custGeom>
            <a:solidFill>
              <a:srgbClr val="00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PE"/>
            </a:p>
          </p:txBody>
        </p:sp>
        <p:sp>
          <p:nvSpPr>
            <p:cNvPr id="100" name="Freeform 451"/>
            <p:cNvSpPr>
              <a:spLocks noEditPoints="1"/>
            </p:cNvSpPr>
            <p:nvPr/>
          </p:nvSpPr>
          <p:spPr bwMode="auto">
            <a:xfrm>
              <a:off x="5600" y="2071"/>
              <a:ext cx="1255" cy="982"/>
            </a:xfrm>
            <a:custGeom>
              <a:avLst/>
              <a:gdLst>
                <a:gd name="T0" fmla="*/ 3439 w 851"/>
                <a:gd name="T1" fmla="*/ 3148 h 666"/>
                <a:gd name="T2" fmla="*/ 587 w 851"/>
                <a:gd name="T3" fmla="*/ 3148 h 666"/>
                <a:gd name="T4" fmla="*/ 0 w 851"/>
                <a:gd name="T5" fmla="*/ 2558 h 666"/>
                <a:gd name="T6" fmla="*/ 0 w 851"/>
                <a:gd name="T7" fmla="*/ 596 h 666"/>
                <a:gd name="T8" fmla="*/ 587 w 851"/>
                <a:gd name="T9" fmla="*/ 0 h 666"/>
                <a:gd name="T10" fmla="*/ 3439 w 851"/>
                <a:gd name="T11" fmla="*/ 0 h 666"/>
                <a:gd name="T12" fmla="*/ 4026 w 851"/>
                <a:gd name="T13" fmla="*/ 596 h 666"/>
                <a:gd name="T14" fmla="*/ 4026 w 851"/>
                <a:gd name="T15" fmla="*/ 2558 h 666"/>
                <a:gd name="T16" fmla="*/ 3439 w 851"/>
                <a:gd name="T17" fmla="*/ 3148 h 666"/>
                <a:gd name="T18" fmla="*/ 587 w 851"/>
                <a:gd name="T19" fmla="*/ 189 h 666"/>
                <a:gd name="T20" fmla="*/ 189 w 851"/>
                <a:gd name="T21" fmla="*/ 596 h 666"/>
                <a:gd name="T22" fmla="*/ 189 w 851"/>
                <a:gd name="T23" fmla="*/ 2558 h 666"/>
                <a:gd name="T24" fmla="*/ 587 w 851"/>
                <a:gd name="T25" fmla="*/ 2959 h 666"/>
                <a:gd name="T26" fmla="*/ 3439 w 851"/>
                <a:gd name="T27" fmla="*/ 2959 h 666"/>
                <a:gd name="T28" fmla="*/ 3836 w 851"/>
                <a:gd name="T29" fmla="*/ 2558 h 666"/>
                <a:gd name="T30" fmla="*/ 3836 w 851"/>
                <a:gd name="T31" fmla="*/ 596 h 666"/>
                <a:gd name="T32" fmla="*/ 3439 w 851"/>
                <a:gd name="T33" fmla="*/ 189 h 666"/>
                <a:gd name="T34" fmla="*/ 587 w 851"/>
                <a:gd name="T35" fmla="*/ 189 h 66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851"/>
                <a:gd name="T55" fmla="*/ 0 h 666"/>
                <a:gd name="T56" fmla="*/ 851 w 851"/>
                <a:gd name="T57" fmla="*/ 666 h 66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851" h="666">
                  <a:moveTo>
                    <a:pt x="727" y="666"/>
                  </a:moveTo>
                  <a:cubicBezTo>
                    <a:pt x="124" y="666"/>
                    <a:pt x="124" y="666"/>
                    <a:pt x="124" y="666"/>
                  </a:cubicBezTo>
                  <a:cubicBezTo>
                    <a:pt x="55" y="666"/>
                    <a:pt x="0" y="610"/>
                    <a:pt x="0" y="541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56"/>
                    <a:pt x="55" y="0"/>
                    <a:pt x="124" y="0"/>
                  </a:cubicBezTo>
                  <a:cubicBezTo>
                    <a:pt x="727" y="0"/>
                    <a:pt x="727" y="0"/>
                    <a:pt x="727" y="0"/>
                  </a:cubicBezTo>
                  <a:cubicBezTo>
                    <a:pt x="795" y="0"/>
                    <a:pt x="851" y="56"/>
                    <a:pt x="851" y="126"/>
                  </a:cubicBezTo>
                  <a:cubicBezTo>
                    <a:pt x="851" y="541"/>
                    <a:pt x="851" y="541"/>
                    <a:pt x="851" y="541"/>
                  </a:cubicBezTo>
                  <a:cubicBezTo>
                    <a:pt x="851" y="610"/>
                    <a:pt x="795" y="666"/>
                    <a:pt x="727" y="666"/>
                  </a:cubicBezTo>
                  <a:close/>
                  <a:moveTo>
                    <a:pt x="124" y="40"/>
                  </a:moveTo>
                  <a:cubicBezTo>
                    <a:pt x="78" y="40"/>
                    <a:pt x="40" y="79"/>
                    <a:pt x="40" y="126"/>
                  </a:cubicBezTo>
                  <a:cubicBezTo>
                    <a:pt x="40" y="541"/>
                    <a:pt x="40" y="541"/>
                    <a:pt x="40" y="541"/>
                  </a:cubicBezTo>
                  <a:cubicBezTo>
                    <a:pt x="40" y="588"/>
                    <a:pt x="78" y="626"/>
                    <a:pt x="124" y="626"/>
                  </a:cubicBezTo>
                  <a:cubicBezTo>
                    <a:pt x="727" y="626"/>
                    <a:pt x="727" y="626"/>
                    <a:pt x="727" y="626"/>
                  </a:cubicBezTo>
                  <a:cubicBezTo>
                    <a:pt x="773" y="626"/>
                    <a:pt x="811" y="588"/>
                    <a:pt x="811" y="541"/>
                  </a:cubicBezTo>
                  <a:cubicBezTo>
                    <a:pt x="811" y="126"/>
                    <a:pt x="811" y="126"/>
                    <a:pt x="811" y="126"/>
                  </a:cubicBezTo>
                  <a:cubicBezTo>
                    <a:pt x="811" y="79"/>
                    <a:pt x="773" y="40"/>
                    <a:pt x="727" y="40"/>
                  </a:cubicBezTo>
                  <a:lnTo>
                    <a:pt x="124" y="40"/>
                  </a:lnTo>
                  <a:close/>
                </a:path>
              </a:pathLst>
            </a:custGeom>
            <a:solidFill>
              <a:srgbClr val="00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PE"/>
            </a:p>
          </p:txBody>
        </p:sp>
        <p:grpSp>
          <p:nvGrpSpPr>
            <p:cNvPr id="101" name="Group 454"/>
            <p:cNvGrpSpPr>
              <a:grpSpLocks/>
            </p:cNvGrpSpPr>
            <p:nvPr/>
          </p:nvGrpSpPr>
          <p:grpSpPr bwMode="auto">
            <a:xfrm>
              <a:off x="5980" y="2417"/>
              <a:ext cx="500" cy="498"/>
              <a:chOff x="6004" y="2440"/>
              <a:chExt cx="453" cy="453"/>
            </a:xfrm>
          </p:grpSpPr>
          <p:sp>
            <p:nvSpPr>
              <p:cNvPr id="102" name="Freeform 452"/>
              <p:cNvSpPr>
                <a:spLocks noEditPoints="1"/>
              </p:cNvSpPr>
              <p:nvPr/>
            </p:nvSpPr>
            <p:spPr bwMode="auto">
              <a:xfrm>
                <a:off x="6004" y="2440"/>
                <a:ext cx="453" cy="453"/>
              </a:xfrm>
              <a:custGeom>
                <a:avLst/>
                <a:gdLst>
                  <a:gd name="T0" fmla="*/ 1443 w 307"/>
                  <a:gd name="T1" fmla="*/ 856 h 307"/>
                  <a:gd name="T2" fmla="*/ 1418 w 307"/>
                  <a:gd name="T3" fmla="*/ 674 h 307"/>
                  <a:gd name="T4" fmla="*/ 1309 w 307"/>
                  <a:gd name="T5" fmla="*/ 621 h 307"/>
                  <a:gd name="T6" fmla="*/ 1296 w 307"/>
                  <a:gd name="T7" fmla="*/ 446 h 307"/>
                  <a:gd name="T8" fmla="*/ 1352 w 307"/>
                  <a:gd name="T9" fmla="*/ 338 h 307"/>
                  <a:gd name="T10" fmla="*/ 1204 w 307"/>
                  <a:gd name="T11" fmla="*/ 238 h 307"/>
                  <a:gd name="T12" fmla="*/ 1095 w 307"/>
                  <a:gd name="T13" fmla="*/ 276 h 307"/>
                  <a:gd name="T14" fmla="*/ 986 w 307"/>
                  <a:gd name="T15" fmla="*/ 161 h 307"/>
                  <a:gd name="T16" fmla="*/ 978 w 307"/>
                  <a:gd name="T17" fmla="*/ 41 h 307"/>
                  <a:gd name="T18" fmla="*/ 797 w 307"/>
                  <a:gd name="T19" fmla="*/ 40 h 307"/>
                  <a:gd name="T20" fmla="*/ 745 w 307"/>
                  <a:gd name="T21" fmla="*/ 148 h 307"/>
                  <a:gd name="T22" fmla="*/ 658 w 307"/>
                  <a:gd name="T23" fmla="*/ 156 h 307"/>
                  <a:gd name="T24" fmla="*/ 567 w 307"/>
                  <a:gd name="T25" fmla="*/ 47 h 307"/>
                  <a:gd name="T26" fmla="*/ 431 w 307"/>
                  <a:gd name="T27" fmla="*/ 60 h 307"/>
                  <a:gd name="T28" fmla="*/ 379 w 307"/>
                  <a:gd name="T29" fmla="*/ 87 h 307"/>
                  <a:gd name="T30" fmla="*/ 366 w 307"/>
                  <a:gd name="T31" fmla="*/ 137 h 307"/>
                  <a:gd name="T32" fmla="*/ 379 w 307"/>
                  <a:gd name="T33" fmla="*/ 270 h 307"/>
                  <a:gd name="T34" fmla="*/ 251 w 307"/>
                  <a:gd name="T35" fmla="*/ 338 h 307"/>
                  <a:gd name="T36" fmla="*/ 114 w 307"/>
                  <a:gd name="T37" fmla="*/ 317 h 307"/>
                  <a:gd name="T38" fmla="*/ 77 w 307"/>
                  <a:gd name="T39" fmla="*/ 491 h 307"/>
                  <a:gd name="T40" fmla="*/ 170 w 307"/>
                  <a:gd name="T41" fmla="*/ 587 h 307"/>
                  <a:gd name="T42" fmla="*/ 148 w 307"/>
                  <a:gd name="T43" fmla="*/ 745 h 307"/>
                  <a:gd name="T44" fmla="*/ 41 w 307"/>
                  <a:gd name="T45" fmla="*/ 764 h 307"/>
                  <a:gd name="T46" fmla="*/ 13 w 307"/>
                  <a:gd name="T47" fmla="*/ 944 h 307"/>
                  <a:gd name="T48" fmla="*/ 151 w 307"/>
                  <a:gd name="T49" fmla="*/ 971 h 307"/>
                  <a:gd name="T50" fmla="*/ 270 w 307"/>
                  <a:gd name="T51" fmla="*/ 1095 h 307"/>
                  <a:gd name="T52" fmla="*/ 242 w 307"/>
                  <a:gd name="T53" fmla="*/ 1198 h 307"/>
                  <a:gd name="T54" fmla="*/ 257 w 307"/>
                  <a:gd name="T55" fmla="*/ 1265 h 307"/>
                  <a:gd name="T56" fmla="*/ 310 w 307"/>
                  <a:gd name="T57" fmla="*/ 1304 h 307"/>
                  <a:gd name="T58" fmla="*/ 418 w 307"/>
                  <a:gd name="T59" fmla="*/ 1332 h 307"/>
                  <a:gd name="T60" fmla="*/ 512 w 307"/>
                  <a:gd name="T61" fmla="*/ 1276 h 307"/>
                  <a:gd name="T62" fmla="*/ 674 w 307"/>
                  <a:gd name="T63" fmla="*/ 1365 h 307"/>
                  <a:gd name="T64" fmla="*/ 720 w 307"/>
                  <a:gd name="T65" fmla="*/ 1455 h 307"/>
                  <a:gd name="T66" fmla="*/ 891 w 307"/>
                  <a:gd name="T67" fmla="*/ 1405 h 307"/>
                  <a:gd name="T68" fmla="*/ 928 w 307"/>
                  <a:gd name="T69" fmla="*/ 1290 h 307"/>
                  <a:gd name="T70" fmla="*/ 1107 w 307"/>
                  <a:gd name="T71" fmla="*/ 1248 h 307"/>
                  <a:gd name="T72" fmla="*/ 1214 w 307"/>
                  <a:gd name="T73" fmla="*/ 1285 h 307"/>
                  <a:gd name="T74" fmla="*/ 1296 w 307"/>
                  <a:gd name="T75" fmla="*/ 1127 h 307"/>
                  <a:gd name="T76" fmla="*/ 1244 w 307"/>
                  <a:gd name="T77" fmla="*/ 1026 h 307"/>
                  <a:gd name="T78" fmla="*/ 1346 w 307"/>
                  <a:gd name="T79" fmla="*/ 887 h 307"/>
                  <a:gd name="T80" fmla="*/ 736 w 307"/>
                  <a:gd name="T81" fmla="*/ 1135 h 307"/>
                  <a:gd name="T82" fmla="*/ 736 w 307"/>
                  <a:gd name="T83" fmla="*/ 338 h 307"/>
                  <a:gd name="T84" fmla="*/ 736 w 307"/>
                  <a:gd name="T85" fmla="*/ 1135 h 30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07"/>
                  <a:gd name="T130" fmla="*/ 0 h 307"/>
                  <a:gd name="T131" fmla="*/ 307 w 307"/>
                  <a:gd name="T132" fmla="*/ 307 h 30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07" h="307">
                    <a:moveTo>
                      <a:pt x="294" y="188"/>
                    </a:moveTo>
                    <a:cubicBezTo>
                      <a:pt x="299" y="188"/>
                      <a:pt x="303" y="185"/>
                      <a:pt x="304" y="180"/>
                    </a:cubicBezTo>
                    <a:cubicBezTo>
                      <a:pt x="307" y="153"/>
                      <a:pt x="307" y="153"/>
                      <a:pt x="307" y="153"/>
                    </a:cubicBezTo>
                    <a:cubicBezTo>
                      <a:pt x="307" y="148"/>
                      <a:pt x="304" y="143"/>
                      <a:pt x="299" y="142"/>
                    </a:cubicBezTo>
                    <a:cubicBezTo>
                      <a:pt x="287" y="141"/>
                      <a:pt x="287" y="141"/>
                      <a:pt x="287" y="141"/>
                    </a:cubicBezTo>
                    <a:cubicBezTo>
                      <a:pt x="282" y="140"/>
                      <a:pt x="277" y="136"/>
                      <a:pt x="276" y="131"/>
                    </a:cubicBezTo>
                    <a:cubicBezTo>
                      <a:pt x="269" y="108"/>
                      <a:pt x="269" y="108"/>
                      <a:pt x="269" y="108"/>
                    </a:cubicBezTo>
                    <a:cubicBezTo>
                      <a:pt x="267" y="104"/>
                      <a:pt x="269" y="97"/>
                      <a:pt x="273" y="94"/>
                    </a:cubicBezTo>
                    <a:cubicBezTo>
                      <a:pt x="284" y="84"/>
                      <a:pt x="284" y="84"/>
                      <a:pt x="284" y="84"/>
                    </a:cubicBezTo>
                    <a:cubicBezTo>
                      <a:pt x="288" y="81"/>
                      <a:pt x="288" y="75"/>
                      <a:pt x="285" y="71"/>
                    </a:cubicBezTo>
                    <a:cubicBezTo>
                      <a:pt x="267" y="51"/>
                      <a:pt x="267" y="51"/>
                      <a:pt x="267" y="51"/>
                    </a:cubicBezTo>
                    <a:cubicBezTo>
                      <a:pt x="263" y="47"/>
                      <a:pt x="257" y="47"/>
                      <a:pt x="254" y="50"/>
                    </a:cubicBezTo>
                    <a:cubicBezTo>
                      <a:pt x="245" y="58"/>
                      <a:pt x="245" y="58"/>
                      <a:pt x="245" y="58"/>
                    </a:cubicBezTo>
                    <a:cubicBezTo>
                      <a:pt x="241" y="61"/>
                      <a:pt x="235" y="61"/>
                      <a:pt x="231" y="58"/>
                    </a:cubicBezTo>
                    <a:cubicBezTo>
                      <a:pt x="214" y="47"/>
                      <a:pt x="214" y="47"/>
                      <a:pt x="214" y="47"/>
                    </a:cubicBezTo>
                    <a:cubicBezTo>
                      <a:pt x="209" y="44"/>
                      <a:pt x="207" y="38"/>
                      <a:pt x="208" y="34"/>
                    </a:cubicBezTo>
                    <a:cubicBezTo>
                      <a:pt x="212" y="21"/>
                      <a:pt x="212" y="21"/>
                      <a:pt x="212" y="21"/>
                    </a:cubicBezTo>
                    <a:cubicBezTo>
                      <a:pt x="213" y="16"/>
                      <a:pt x="211" y="11"/>
                      <a:pt x="206" y="9"/>
                    </a:cubicBezTo>
                    <a:cubicBezTo>
                      <a:pt x="180" y="2"/>
                      <a:pt x="180" y="2"/>
                      <a:pt x="180" y="2"/>
                    </a:cubicBezTo>
                    <a:cubicBezTo>
                      <a:pt x="175" y="0"/>
                      <a:pt x="170" y="3"/>
                      <a:pt x="168" y="8"/>
                    </a:cubicBezTo>
                    <a:cubicBezTo>
                      <a:pt x="164" y="23"/>
                      <a:pt x="164" y="23"/>
                      <a:pt x="164" y="23"/>
                    </a:cubicBezTo>
                    <a:cubicBezTo>
                      <a:pt x="162" y="28"/>
                      <a:pt x="159" y="32"/>
                      <a:pt x="157" y="31"/>
                    </a:cubicBezTo>
                    <a:cubicBezTo>
                      <a:pt x="157" y="31"/>
                      <a:pt x="157" y="31"/>
                      <a:pt x="155" y="31"/>
                    </a:cubicBezTo>
                    <a:cubicBezTo>
                      <a:pt x="146" y="31"/>
                      <a:pt x="139" y="33"/>
                      <a:pt x="139" y="33"/>
                    </a:cubicBezTo>
                    <a:cubicBezTo>
                      <a:pt x="134" y="33"/>
                      <a:pt x="128" y="30"/>
                      <a:pt x="126" y="26"/>
                    </a:cubicBezTo>
                    <a:cubicBezTo>
                      <a:pt x="119" y="10"/>
                      <a:pt x="119" y="10"/>
                      <a:pt x="119" y="10"/>
                    </a:cubicBezTo>
                    <a:cubicBezTo>
                      <a:pt x="117" y="5"/>
                      <a:pt x="111" y="3"/>
                      <a:pt x="106" y="6"/>
                    </a:cubicBezTo>
                    <a:cubicBezTo>
                      <a:pt x="91" y="13"/>
                      <a:pt x="91" y="13"/>
                      <a:pt x="91" y="13"/>
                    </a:cubicBezTo>
                    <a:cubicBezTo>
                      <a:pt x="86" y="15"/>
                      <a:pt x="82" y="17"/>
                      <a:pt x="81" y="17"/>
                    </a:cubicBezTo>
                    <a:cubicBezTo>
                      <a:pt x="81" y="17"/>
                      <a:pt x="80" y="18"/>
                      <a:pt x="80" y="18"/>
                    </a:cubicBezTo>
                    <a:cubicBezTo>
                      <a:pt x="80" y="18"/>
                      <a:pt x="79" y="19"/>
                      <a:pt x="77" y="19"/>
                    </a:cubicBezTo>
                    <a:cubicBezTo>
                      <a:pt x="75" y="20"/>
                      <a:pt x="75" y="25"/>
                      <a:pt x="77" y="29"/>
                    </a:cubicBezTo>
                    <a:cubicBezTo>
                      <a:pt x="84" y="43"/>
                      <a:pt x="84" y="43"/>
                      <a:pt x="84" y="43"/>
                    </a:cubicBezTo>
                    <a:cubicBezTo>
                      <a:pt x="86" y="48"/>
                      <a:pt x="84" y="54"/>
                      <a:pt x="80" y="57"/>
                    </a:cubicBezTo>
                    <a:cubicBezTo>
                      <a:pt x="67" y="69"/>
                      <a:pt x="67" y="69"/>
                      <a:pt x="67" y="69"/>
                    </a:cubicBezTo>
                    <a:cubicBezTo>
                      <a:pt x="64" y="72"/>
                      <a:pt x="57" y="73"/>
                      <a:pt x="53" y="71"/>
                    </a:cubicBezTo>
                    <a:cubicBezTo>
                      <a:pt x="36" y="63"/>
                      <a:pt x="36" y="63"/>
                      <a:pt x="36" y="63"/>
                    </a:cubicBezTo>
                    <a:cubicBezTo>
                      <a:pt x="32" y="61"/>
                      <a:pt x="26" y="62"/>
                      <a:pt x="24" y="67"/>
                    </a:cubicBezTo>
                    <a:cubicBezTo>
                      <a:pt x="12" y="91"/>
                      <a:pt x="12" y="91"/>
                      <a:pt x="12" y="91"/>
                    </a:cubicBezTo>
                    <a:cubicBezTo>
                      <a:pt x="9" y="96"/>
                      <a:pt x="11" y="101"/>
                      <a:pt x="16" y="104"/>
                    </a:cubicBezTo>
                    <a:cubicBezTo>
                      <a:pt x="30" y="111"/>
                      <a:pt x="30" y="111"/>
                      <a:pt x="30" y="111"/>
                    </a:cubicBezTo>
                    <a:cubicBezTo>
                      <a:pt x="34" y="113"/>
                      <a:pt x="37" y="119"/>
                      <a:pt x="36" y="124"/>
                    </a:cubicBezTo>
                    <a:cubicBezTo>
                      <a:pt x="36" y="124"/>
                      <a:pt x="31" y="141"/>
                      <a:pt x="31" y="155"/>
                    </a:cubicBezTo>
                    <a:cubicBezTo>
                      <a:pt x="31" y="157"/>
                      <a:pt x="31" y="157"/>
                      <a:pt x="31" y="157"/>
                    </a:cubicBezTo>
                    <a:cubicBezTo>
                      <a:pt x="31" y="158"/>
                      <a:pt x="27" y="160"/>
                      <a:pt x="22" y="160"/>
                    </a:cubicBezTo>
                    <a:cubicBezTo>
                      <a:pt x="9" y="161"/>
                      <a:pt x="9" y="161"/>
                      <a:pt x="9" y="161"/>
                    </a:cubicBezTo>
                    <a:cubicBezTo>
                      <a:pt x="4" y="162"/>
                      <a:pt x="0" y="166"/>
                      <a:pt x="1" y="171"/>
                    </a:cubicBezTo>
                    <a:cubicBezTo>
                      <a:pt x="3" y="199"/>
                      <a:pt x="3" y="199"/>
                      <a:pt x="3" y="199"/>
                    </a:cubicBezTo>
                    <a:cubicBezTo>
                      <a:pt x="4" y="204"/>
                      <a:pt x="8" y="207"/>
                      <a:pt x="13" y="207"/>
                    </a:cubicBezTo>
                    <a:cubicBezTo>
                      <a:pt x="32" y="205"/>
                      <a:pt x="32" y="205"/>
                      <a:pt x="32" y="205"/>
                    </a:cubicBezTo>
                    <a:cubicBezTo>
                      <a:pt x="37" y="204"/>
                      <a:pt x="43" y="208"/>
                      <a:pt x="45" y="212"/>
                    </a:cubicBezTo>
                    <a:cubicBezTo>
                      <a:pt x="57" y="231"/>
                      <a:pt x="57" y="231"/>
                      <a:pt x="57" y="231"/>
                    </a:cubicBezTo>
                    <a:cubicBezTo>
                      <a:pt x="60" y="235"/>
                      <a:pt x="60" y="241"/>
                      <a:pt x="57" y="245"/>
                    </a:cubicBezTo>
                    <a:cubicBezTo>
                      <a:pt x="51" y="253"/>
                      <a:pt x="51" y="253"/>
                      <a:pt x="51" y="253"/>
                    </a:cubicBezTo>
                    <a:cubicBezTo>
                      <a:pt x="48" y="257"/>
                      <a:pt x="48" y="262"/>
                      <a:pt x="50" y="264"/>
                    </a:cubicBezTo>
                    <a:cubicBezTo>
                      <a:pt x="52" y="265"/>
                      <a:pt x="54" y="267"/>
                      <a:pt x="54" y="267"/>
                    </a:cubicBezTo>
                    <a:cubicBezTo>
                      <a:pt x="54" y="267"/>
                      <a:pt x="55" y="268"/>
                      <a:pt x="56" y="268"/>
                    </a:cubicBezTo>
                    <a:cubicBezTo>
                      <a:pt x="57" y="269"/>
                      <a:pt x="61" y="272"/>
                      <a:pt x="65" y="275"/>
                    </a:cubicBezTo>
                    <a:cubicBezTo>
                      <a:pt x="75" y="282"/>
                      <a:pt x="75" y="282"/>
                      <a:pt x="75" y="282"/>
                    </a:cubicBezTo>
                    <a:cubicBezTo>
                      <a:pt x="79" y="285"/>
                      <a:pt x="85" y="285"/>
                      <a:pt x="88" y="281"/>
                    </a:cubicBezTo>
                    <a:cubicBezTo>
                      <a:pt x="93" y="273"/>
                      <a:pt x="93" y="273"/>
                      <a:pt x="93" y="273"/>
                    </a:cubicBezTo>
                    <a:cubicBezTo>
                      <a:pt x="96" y="269"/>
                      <a:pt x="103" y="267"/>
                      <a:pt x="108" y="269"/>
                    </a:cubicBezTo>
                    <a:cubicBezTo>
                      <a:pt x="133" y="277"/>
                      <a:pt x="133" y="277"/>
                      <a:pt x="133" y="277"/>
                    </a:cubicBezTo>
                    <a:cubicBezTo>
                      <a:pt x="138" y="278"/>
                      <a:pt x="142" y="283"/>
                      <a:pt x="142" y="288"/>
                    </a:cubicBezTo>
                    <a:cubicBezTo>
                      <a:pt x="143" y="298"/>
                      <a:pt x="143" y="298"/>
                      <a:pt x="143" y="298"/>
                    </a:cubicBezTo>
                    <a:cubicBezTo>
                      <a:pt x="143" y="303"/>
                      <a:pt x="147" y="307"/>
                      <a:pt x="152" y="307"/>
                    </a:cubicBezTo>
                    <a:cubicBezTo>
                      <a:pt x="179" y="306"/>
                      <a:pt x="179" y="306"/>
                      <a:pt x="179" y="306"/>
                    </a:cubicBezTo>
                    <a:cubicBezTo>
                      <a:pt x="185" y="306"/>
                      <a:pt x="188" y="301"/>
                      <a:pt x="188" y="296"/>
                    </a:cubicBezTo>
                    <a:cubicBezTo>
                      <a:pt x="188" y="284"/>
                      <a:pt x="188" y="284"/>
                      <a:pt x="188" y="284"/>
                    </a:cubicBezTo>
                    <a:cubicBezTo>
                      <a:pt x="187" y="279"/>
                      <a:pt x="191" y="274"/>
                      <a:pt x="196" y="272"/>
                    </a:cubicBezTo>
                    <a:cubicBezTo>
                      <a:pt x="218" y="261"/>
                      <a:pt x="218" y="261"/>
                      <a:pt x="218" y="261"/>
                    </a:cubicBezTo>
                    <a:cubicBezTo>
                      <a:pt x="222" y="259"/>
                      <a:pt x="229" y="259"/>
                      <a:pt x="233" y="263"/>
                    </a:cubicBezTo>
                    <a:cubicBezTo>
                      <a:pt x="243" y="272"/>
                      <a:pt x="243" y="272"/>
                      <a:pt x="243" y="272"/>
                    </a:cubicBezTo>
                    <a:cubicBezTo>
                      <a:pt x="246" y="275"/>
                      <a:pt x="252" y="275"/>
                      <a:pt x="256" y="271"/>
                    </a:cubicBezTo>
                    <a:cubicBezTo>
                      <a:pt x="274" y="251"/>
                      <a:pt x="274" y="251"/>
                      <a:pt x="274" y="251"/>
                    </a:cubicBezTo>
                    <a:cubicBezTo>
                      <a:pt x="277" y="247"/>
                      <a:pt x="277" y="242"/>
                      <a:pt x="273" y="238"/>
                    </a:cubicBezTo>
                    <a:cubicBezTo>
                      <a:pt x="265" y="230"/>
                      <a:pt x="265" y="230"/>
                      <a:pt x="265" y="230"/>
                    </a:cubicBezTo>
                    <a:cubicBezTo>
                      <a:pt x="261" y="227"/>
                      <a:pt x="260" y="220"/>
                      <a:pt x="262" y="216"/>
                    </a:cubicBezTo>
                    <a:cubicBezTo>
                      <a:pt x="272" y="194"/>
                      <a:pt x="272" y="194"/>
                      <a:pt x="272" y="194"/>
                    </a:cubicBezTo>
                    <a:cubicBezTo>
                      <a:pt x="274" y="189"/>
                      <a:pt x="279" y="186"/>
                      <a:pt x="284" y="187"/>
                    </a:cubicBezTo>
                    <a:lnTo>
                      <a:pt x="294" y="188"/>
                    </a:lnTo>
                    <a:close/>
                    <a:moveTo>
                      <a:pt x="155" y="239"/>
                    </a:moveTo>
                    <a:cubicBezTo>
                      <a:pt x="109" y="239"/>
                      <a:pt x="71" y="202"/>
                      <a:pt x="71" y="155"/>
                    </a:cubicBezTo>
                    <a:cubicBezTo>
                      <a:pt x="71" y="109"/>
                      <a:pt x="109" y="71"/>
                      <a:pt x="155" y="71"/>
                    </a:cubicBezTo>
                    <a:cubicBezTo>
                      <a:pt x="201" y="71"/>
                      <a:pt x="239" y="109"/>
                      <a:pt x="239" y="155"/>
                    </a:cubicBezTo>
                    <a:cubicBezTo>
                      <a:pt x="239" y="202"/>
                      <a:pt x="201" y="239"/>
                      <a:pt x="155" y="239"/>
                    </a:cubicBezTo>
                    <a:close/>
                  </a:path>
                </a:pathLst>
              </a:custGeom>
              <a:solidFill>
                <a:srgbClr val="003F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s-PE"/>
              </a:p>
            </p:txBody>
          </p:sp>
          <p:sp>
            <p:nvSpPr>
              <p:cNvPr id="103" name="Oval 453"/>
              <p:cNvSpPr>
                <a:spLocks noChangeArrowheads="1"/>
              </p:cNvSpPr>
              <p:nvPr/>
            </p:nvSpPr>
            <p:spPr bwMode="auto">
              <a:xfrm>
                <a:off x="6144" y="2580"/>
                <a:ext cx="176" cy="176"/>
              </a:xfrm>
              <a:prstGeom prst="ellipse">
                <a:avLst/>
              </a:prstGeom>
              <a:solidFill>
                <a:srgbClr val="003F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endParaRPr lang="en-US" altLang="en-US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106" name="Group 97"/>
          <p:cNvGrpSpPr>
            <a:grpSpLocks/>
          </p:cNvGrpSpPr>
          <p:nvPr/>
        </p:nvGrpSpPr>
        <p:grpSpPr bwMode="auto">
          <a:xfrm>
            <a:off x="6347106" y="1515928"/>
            <a:ext cx="787400" cy="441325"/>
            <a:chOff x="4084" y="2093"/>
            <a:chExt cx="1527" cy="854"/>
          </a:xfrm>
        </p:grpSpPr>
        <p:sp>
          <p:nvSpPr>
            <p:cNvPr id="107" name="Freeform 154"/>
            <p:cNvSpPr>
              <a:spLocks/>
            </p:cNvSpPr>
            <p:nvPr/>
          </p:nvSpPr>
          <p:spPr bwMode="auto">
            <a:xfrm>
              <a:off x="4084" y="2179"/>
              <a:ext cx="1527" cy="768"/>
            </a:xfrm>
            <a:custGeom>
              <a:avLst/>
              <a:gdLst>
                <a:gd name="T0" fmla="*/ 61953 w 810"/>
                <a:gd name="T1" fmla="*/ 22798 h 407"/>
                <a:gd name="T2" fmla="*/ 62026 w 810"/>
                <a:gd name="T3" fmla="*/ 21934 h 407"/>
                <a:gd name="T4" fmla="*/ 55835 w 810"/>
                <a:gd name="T5" fmla="*/ 15646 h 407"/>
                <a:gd name="T6" fmla="*/ 55334 w 810"/>
                <a:gd name="T7" fmla="*/ 15646 h 407"/>
                <a:gd name="T8" fmla="*/ 47501 w 810"/>
                <a:gd name="T9" fmla="*/ 10231 h 407"/>
                <a:gd name="T10" fmla="*/ 46805 w 810"/>
                <a:gd name="T11" fmla="*/ 10231 h 407"/>
                <a:gd name="T12" fmla="*/ 34697 w 810"/>
                <a:gd name="T13" fmla="*/ 0 h 407"/>
                <a:gd name="T14" fmla="*/ 22571 w 810"/>
                <a:gd name="T15" fmla="*/ 10503 h 407"/>
                <a:gd name="T16" fmla="*/ 20475 w 810"/>
                <a:gd name="T17" fmla="*/ 10231 h 407"/>
                <a:gd name="T18" fmla="*/ 13473 w 810"/>
                <a:gd name="T19" fmla="*/ 16062 h 407"/>
                <a:gd name="T20" fmla="*/ 11354 w 810"/>
                <a:gd name="T21" fmla="*/ 15843 h 407"/>
                <a:gd name="T22" fmla="*/ 0 w 810"/>
                <a:gd name="T23" fmla="*/ 27353 h 407"/>
                <a:gd name="T24" fmla="*/ 2586 w 810"/>
                <a:gd name="T25" fmla="*/ 34630 h 407"/>
                <a:gd name="T26" fmla="*/ 2882 w 810"/>
                <a:gd name="T27" fmla="*/ 34983 h 407"/>
                <a:gd name="T28" fmla="*/ 66932 w 810"/>
                <a:gd name="T29" fmla="*/ 34983 h 407"/>
                <a:gd name="T30" fmla="*/ 67194 w 810"/>
                <a:gd name="T31" fmla="*/ 34575 h 407"/>
                <a:gd name="T32" fmla="*/ 68545 w 810"/>
                <a:gd name="T33" fmla="*/ 30244 h 407"/>
                <a:gd name="T34" fmla="*/ 61953 w 810"/>
                <a:gd name="T35" fmla="*/ 22798 h 40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810"/>
                <a:gd name="T55" fmla="*/ 0 h 407"/>
                <a:gd name="T56" fmla="*/ 810 w 810"/>
                <a:gd name="T57" fmla="*/ 407 h 40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810" h="407">
                  <a:moveTo>
                    <a:pt x="732" y="265"/>
                  </a:moveTo>
                  <a:cubicBezTo>
                    <a:pt x="733" y="262"/>
                    <a:pt x="733" y="258"/>
                    <a:pt x="733" y="255"/>
                  </a:cubicBezTo>
                  <a:cubicBezTo>
                    <a:pt x="733" y="215"/>
                    <a:pt x="700" y="182"/>
                    <a:pt x="660" y="182"/>
                  </a:cubicBezTo>
                  <a:cubicBezTo>
                    <a:pt x="658" y="182"/>
                    <a:pt x="656" y="182"/>
                    <a:pt x="654" y="182"/>
                  </a:cubicBezTo>
                  <a:cubicBezTo>
                    <a:pt x="639" y="144"/>
                    <a:pt x="602" y="119"/>
                    <a:pt x="561" y="119"/>
                  </a:cubicBezTo>
                  <a:cubicBezTo>
                    <a:pt x="558" y="119"/>
                    <a:pt x="556" y="119"/>
                    <a:pt x="553" y="119"/>
                  </a:cubicBezTo>
                  <a:cubicBezTo>
                    <a:pt x="541" y="50"/>
                    <a:pt x="481" y="0"/>
                    <a:pt x="410" y="0"/>
                  </a:cubicBezTo>
                  <a:cubicBezTo>
                    <a:pt x="338" y="0"/>
                    <a:pt x="278" y="53"/>
                    <a:pt x="267" y="122"/>
                  </a:cubicBezTo>
                  <a:cubicBezTo>
                    <a:pt x="259" y="120"/>
                    <a:pt x="251" y="119"/>
                    <a:pt x="242" y="119"/>
                  </a:cubicBezTo>
                  <a:cubicBezTo>
                    <a:pt x="201" y="119"/>
                    <a:pt x="167" y="148"/>
                    <a:pt x="159" y="187"/>
                  </a:cubicBezTo>
                  <a:cubicBezTo>
                    <a:pt x="151" y="185"/>
                    <a:pt x="142" y="184"/>
                    <a:pt x="134" y="184"/>
                  </a:cubicBezTo>
                  <a:cubicBezTo>
                    <a:pt x="60" y="184"/>
                    <a:pt x="0" y="244"/>
                    <a:pt x="0" y="318"/>
                  </a:cubicBezTo>
                  <a:cubicBezTo>
                    <a:pt x="0" y="349"/>
                    <a:pt x="11" y="379"/>
                    <a:pt x="31" y="403"/>
                  </a:cubicBezTo>
                  <a:cubicBezTo>
                    <a:pt x="34" y="407"/>
                    <a:pt x="34" y="407"/>
                    <a:pt x="34" y="407"/>
                  </a:cubicBezTo>
                  <a:cubicBezTo>
                    <a:pt x="791" y="407"/>
                    <a:pt x="791" y="407"/>
                    <a:pt x="791" y="407"/>
                  </a:cubicBezTo>
                  <a:cubicBezTo>
                    <a:pt x="794" y="402"/>
                    <a:pt x="794" y="402"/>
                    <a:pt x="794" y="402"/>
                  </a:cubicBezTo>
                  <a:cubicBezTo>
                    <a:pt x="805" y="388"/>
                    <a:pt x="810" y="370"/>
                    <a:pt x="810" y="352"/>
                  </a:cubicBezTo>
                  <a:cubicBezTo>
                    <a:pt x="810" y="307"/>
                    <a:pt x="776" y="270"/>
                    <a:pt x="732" y="26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rgbClr val="FFFFFF"/>
                </a:solidFill>
              </a:endParaRPr>
            </a:p>
          </p:txBody>
        </p:sp>
        <p:sp>
          <p:nvSpPr>
            <p:cNvPr id="108" name="Freeform 155"/>
            <p:cNvSpPr>
              <a:spLocks/>
            </p:cNvSpPr>
            <p:nvPr/>
          </p:nvSpPr>
          <p:spPr bwMode="auto">
            <a:xfrm>
              <a:off x="4102" y="2197"/>
              <a:ext cx="1490" cy="731"/>
            </a:xfrm>
            <a:custGeom>
              <a:avLst/>
              <a:gdLst>
                <a:gd name="T0" fmla="*/ 60250 w 790"/>
                <a:gd name="T1" fmla="*/ 22522 h 387"/>
                <a:gd name="T2" fmla="*/ 59895 w 790"/>
                <a:gd name="T3" fmla="*/ 22522 h 387"/>
                <a:gd name="T4" fmla="*/ 60250 w 790"/>
                <a:gd name="T5" fmla="*/ 20800 h 387"/>
                <a:gd name="T6" fmla="*/ 57965 w 790"/>
                <a:gd name="T7" fmla="*/ 16484 h 387"/>
                <a:gd name="T8" fmla="*/ 57965 w 790"/>
                <a:gd name="T9" fmla="*/ 28110 h 387"/>
                <a:gd name="T10" fmla="*/ 55781 w 790"/>
                <a:gd name="T11" fmla="*/ 30311 h 387"/>
                <a:gd name="T12" fmla="*/ 42606 w 790"/>
                <a:gd name="T13" fmla="*/ 30311 h 387"/>
                <a:gd name="T14" fmla="*/ 40382 w 790"/>
                <a:gd name="T15" fmla="*/ 28110 h 387"/>
                <a:gd name="T16" fmla="*/ 40382 w 790"/>
                <a:gd name="T17" fmla="*/ 2028 h 387"/>
                <a:gd name="T18" fmla="*/ 33802 w 790"/>
                <a:gd name="T19" fmla="*/ 0 h 387"/>
                <a:gd name="T20" fmla="*/ 22392 w 790"/>
                <a:gd name="T21" fmla="*/ 10812 h 387"/>
                <a:gd name="T22" fmla="*/ 19598 w 790"/>
                <a:gd name="T23" fmla="*/ 10101 h 387"/>
                <a:gd name="T24" fmla="*/ 13365 w 790"/>
                <a:gd name="T25" fmla="*/ 16069 h 387"/>
                <a:gd name="T26" fmla="*/ 10487 w 790"/>
                <a:gd name="T27" fmla="*/ 15645 h 387"/>
                <a:gd name="T28" fmla="*/ 0 w 790"/>
                <a:gd name="T29" fmla="*/ 26171 h 387"/>
                <a:gd name="T30" fmla="*/ 2469 w 790"/>
                <a:gd name="T31" fmla="*/ 32880 h 387"/>
                <a:gd name="T32" fmla="*/ 65573 w 790"/>
                <a:gd name="T33" fmla="*/ 32880 h 387"/>
                <a:gd name="T34" fmla="*/ 66752 w 790"/>
                <a:gd name="T35" fmla="*/ 29070 h 387"/>
                <a:gd name="T36" fmla="*/ 60250 w 790"/>
                <a:gd name="T37" fmla="*/ 22522 h 38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790"/>
                <a:gd name="T58" fmla="*/ 0 h 387"/>
                <a:gd name="T59" fmla="*/ 790 w 790"/>
                <a:gd name="T60" fmla="*/ 387 h 38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790" h="387">
                  <a:moveTo>
                    <a:pt x="713" y="265"/>
                  </a:moveTo>
                  <a:cubicBezTo>
                    <a:pt x="712" y="265"/>
                    <a:pt x="711" y="265"/>
                    <a:pt x="709" y="265"/>
                  </a:cubicBezTo>
                  <a:cubicBezTo>
                    <a:pt x="712" y="259"/>
                    <a:pt x="713" y="252"/>
                    <a:pt x="713" y="245"/>
                  </a:cubicBezTo>
                  <a:cubicBezTo>
                    <a:pt x="713" y="224"/>
                    <a:pt x="702" y="205"/>
                    <a:pt x="686" y="194"/>
                  </a:cubicBezTo>
                  <a:cubicBezTo>
                    <a:pt x="686" y="331"/>
                    <a:pt x="686" y="331"/>
                    <a:pt x="686" y="331"/>
                  </a:cubicBezTo>
                  <a:cubicBezTo>
                    <a:pt x="686" y="346"/>
                    <a:pt x="675" y="357"/>
                    <a:pt x="660" y="357"/>
                  </a:cubicBezTo>
                  <a:cubicBezTo>
                    <a:pt x="504" y="357"/>
                    <a:pt x="504" y="357"/>
                    <a:pt x="504" y="357"/>
                  </a:cubicBezTo>
                  <a:cubicBezTo>
                    <a:pt x="489" y="357"/>
                    <a:pt x="478" y="346"/>
                    <a:pt x="478" y="331"/>
                  </a:cubicBezTo>
                  <a:cubicBezTo>
                    <a:pt x="478" y="24"/>
                    <a:pt x="478" y="24"/>
                    <a:pt x="478" y="24"/>
                  </a:cubicBezTo>
                  <a:cubicBezTo>
                    <a:pt x="456" y="9"/>
                    <a:pt x="429" y="0"/>
                    <a:pt x="400" y="0"/>
                  </a:cubicBezTo>
                  <a:cubicBezTo>
                    <a:pt x="328" y="0"/>
                    <a:pt x="270" y="56"/>
                    <a:pt x="265" y="127"/>
                  </a:cubicBezTo>
                  <a:cubicBezTo>
                    <a:pt x="255" y="122"/>
                    <a:pt x="244" y="119"/>
                    <a:pt x="232" y="119"/>
                  </a:cubicBezTo>
                  <a:cubicBezTo>
                    <a:pt x="192" y="119"/>
                    <a:pt x="160" y="150"/>
                    <a:pt x="158" y="189"/>
                  </a:cubicBezTo>
                  <a:cubicBezTo>
                    <a:pt x="147" y="186"/>
                    <a:pt x="136" y="184"/>
                    <a:pt x="124" y="184"/>
                  </a:cubicBezTo>
                  <a:cubicBezTo>
                    <a:pt x="56" y="184"/>
                    <a:pt x="0" y="240"/>
                    <a:pt x="0" y="308"/>
                  </a:cubicBezTo>
                  <a:cubicBezTo>
                    <a:pt x="0" y="338"/>
                    <a:pt x="11" y="365"/>
                    <a:pt x="29" y="387"/>
                  </a:cubicBezTo>
                  <a:cubicBezTo>
                    <a:pt x="776" y="387"/>
                    <a:pt x="776" y="387"/>
                    <a:pt x="776" y="387"/>
                  </a:cubicBezTo>
                  <a:cubicBezTo>
                    <a:pt x="785" y="374"/>
                    <a:pt x="790" y="359"/>
                    <a:pt x="790" y="342"/>
                  </a:cubicBezTo>
                  <a:cubicBezTo>
                    <a:pt x="790" y="299"/>
                    <a:pt x="756" y="265"/>
                    <a:pt x="713" y="265"/>
                  </a:cubicBezTo>
                  <a:close/>
                </a:path>
              </a:pathLst>
            </a:custGeom>
            <a:solidFill>
              <a:srgbClr val="003F69">
                <a:alpha val="59999"/>
              </a:srgbClr>
            </a:solidFill>
            <a:ln>
              <a:noFill/>
            </a:ln>
            <a:ex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rgbClr val="FFFFFF"/>
                </a:solidFill>
              </a:endParaRPr>
            </a:p>
          </p:txBody>
        </p:sp>
        <p:sp>
          <p:nvSpPr>
            <p:cNvPr id="109" name="Freeform 156"/>
            <p:cNvSpPr>
              <a:spLocks noEditPoints="1"/>
            </p:cNvSpPr>
            <p:nvPr/>
          </p:nvSpPr>
          <p:spPr bwMode="auto">
            <a:xfrm>
              <a:off x="5005" y="2093"/>
              <a:ext cx="391" cy="780"/>
            </a:xfrm>
            <a:custGeom>
              <a:avLst/>
              <a:gdLst>
                <a:gd name="T0" fmla="*/ 15354 w 208"/>
                <a:gd name="T1" fmla="*/ 0 h 413"/>
                <a:gd name="T2" fmla="*/ 2181 w 208"/>
                <a:gd name="T3" fmla="*/ 0 h 413"/>
                <a:gd name="T4" fmla="*/ 0 w 208"/>
                <a:gd name="T5" fmla="*/ 2128 h 413"/>
                <a:gd name="T6" fmla="*/ 0 w 208"/>
                <a:gd name="T7" fmla="*/ 32871 h 413"/>
                <a:gd name="T8" fmla="*/ 2181 w 208"/>
                <a:gd name="T9" fmla="*/ 35076 h 413"/>
                <a:gd name="T10" fmla="*/ 15354 w 208"/>
                <a:gd name="T11" fmla="*/ 35076 h 413"/>
                <a:gd name="T12" fmla="*/ 17570 w 208"/>
                <a:gd name="T13" fmla="*/ 32871 h 413"/>
                <a:gd name="T14" fmla="*/ 17570 w 208"/>
                <a:gd name="T15" fmla="*/ 2128 h 413"/>
                <a:gd name="T16" fmla="*/ 15354 w 208"/>
                <a:gd name="T17" fmla="*/ 0 h 413"/>
                <a:gd name="T18" fmla="*/ 8769 w 208"/>
                <a:gd name="T19" fmla="*/ 32279 h 413"/>
                <a:gd name="T20" fmla="*/ 7712 w 208"/>
                <a:gd name="T21" fmla="*/ 31152 h 413"/>
                <a:gd name="T22" fmla="*/ 8769 w 208"/>
                <a:gd name="T23" fmla="*/ 30085 h 413"/>
                <a:gd name="T24" fmla="*/ 9866 w 208"/>
                <a:gd name="T25" fmla="*/ 31152 h 413"/>
                <a:gd name="T26" fmla="*/ 8769 w 208"/>
                <a:gd name="T27" fmla="*/ 32279 h 413"/>
                <a:gd name="T28" fmla="*/ 13837 w 208"/>
                <a:gd name="T29" fmla="*/ 26565 h 413"/>
                <a:gd name="T30" fmla="*/ 3709 w 208"/>
                <a:gd name="T31" fmla="*/ 26565 h 413"/>
                <a:gd name="T32" fmla="*/ 3709 w 208"/>
                <a:gd name="T33" fmla="*/ 25807 h 413"/>
                <a:gd name="T34" fmla="*/ 13837 w 208"/>
                <a:gd name="T35" fmla="*/ 25807 h 413"/>
                <a:gd name="T36" fmla="*/ 13837 w 208"/>
                <a:gd name="T37" fmla="*/ 26565 h 413"/>
                <a:gd name="T38" fmla="*/ 13837 w 208"/>
                <a:gd name="T39" fmla="*/ 24353 h 413"/>
                <a:gd name="T40" fmla="*/ 3709 w 208"/>
                <a:gd name="T41" fmla="*/ 24353 h 413"/>
                <a:gd name="T42" fmla="*/ 3709 w 208"/>
                <a:gd name="T43" fmla="*/ 23594 h 413"/>
                <a:gd name="T44" fmla="*/ 13837 w 208"/>
                <a:gd name="T45" fmla="*/ 23594 h 413"/>
                <a:gd name="T46" fmla="*/ 13837 w 208"/>
                <a:gd name="T47" fmla="*/ 24353 h 413"/>
                <a:gd name="T48" fmla="*/ 13837 w 208"/>
                <a:gd name="T49" fmla="*/ 22150 h 413"/>
                <a:gd name="T50" fmla="*/ 3709 w 208"/>
                <a:gd name="T51" fmla="*/ 22150 h 413"/>
                <a:gd name="T52" fmla="*/ 3709 w 208"/>
                <a:gd name="T53" fmla="*/ 21393 h 413"/>
                <a:gd name="T54" fmla="*/ 13837 w 208"/>
                <a:gd name="T55" fmla="*/ 21393 h 413"/>
                <a:gd name="T56" fmla="*/ 13837 w 208"/>
                <a:gd name="T57" fmla="*/ 22150 h 413"/>
                <a:gd name="T58" fmla="*/ 13837 w 208"/>
                <a:gd name="T59" fmla="*/ 18294 h 413"/>
                <a:gd name="T60" fmla="*/ 3709 w 208"/>
                <a:gd name="T61" fmla="*/ 18294 h 413"/>
                <a:gd name="T62" fmla="*/ 3709 w 208"/>
                <a:gd name="T63" fmla="*/ 17515 h 413"/>
                <a:gd name="T64" fmla="*/ 13837 w 208"/>
                <a:gd name="T65" fmla="*/ 17515 h 413"/>
                <a:gd name="T66" fmla="*/ 13837 w 208"/>
                <a:gd name="T67" fmla="*/ 18294 h 413"/>
                <a:gd name="T68" fmla="*/ 13837 w 208"/>
                <a:gd name="T69" fmla="*/ 16023 h 413"/>
                <a:gd name="T70" fmla="*/ 3709 w 208"/>
                <a:gd name="T71" fmla="*/ 16023 h 413"/>
                <a:gd name="T72" fmla="*/ 3709 w 208"/>
                <a:gd name="T73" fmla="*/ 15303 h 413"/>
                <a:gd name="T74" fmla="*/ 13837 w 208"/>
                <a:gd name="T75" fmla="*/ 15303 h 413"/>
                <a:gd name="T76" fmla="*/ 13837 w 208"/>
                <a:gd name="T77" fmla="*/ 16023 h 413"/>
                <a:gd name="T78" fmla="*/ 13837 w 208"/>
                <a:gd name="T79" fmla="*/ 13826 h 413"/>
                <a:gd name="T80" fmla="*/ 3709 w 208"/>
                <a:gd name="T81" fmla="*/ 13826 h 413"/>
                <a:gd name="T82" fmla="*/ 3709 w 208"/>
                <a:gd name="T83" fmla="*/ 13064 h 413"/>
                <a:gd name="T84" fmla="*/ 13837 w 208"/>
                <a:gd name="T85" fmla="*/ 13064 h 413"/>
                <a:gd name="T86" fmla="*/ 13837 w 208"/>
                <a:gd name="T87" fmla="*/ 13826 h 413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08"/>
                <a:gd name="T133" fmla="*/ 0 h 413"/>
                <a:gd name="T134" fmla="*/ 208 w 208"/>
                <a:gd name="T135" fmla="*/ 413 h 413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08" h="413">
                  <a:moveTo>
                    <a:pt x="182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387"/>
                    <a:pt x="0" y="387"/>
                    <a:pt x="0" y="387"/>
                  </a:cubicBezTo>
                  <a:cubicBezTo>
                    <a:pt x="0" y="402"/>
                    <a:pt x="11" y="413"/>
                    <a:pt x="26" y="413"/>
                  </a:cubicBezTo>
                  <a:cubicBezTo>
                    <a:pt x="182" y="413"/>
                    <a:pt x="182" y="413"/>
                    <a:pt x="182" y="413"/>
                  </a:cubicBezTo>
                  <a:cubicBezTo>
                    <a:pt x="197" y="413"/>
                    <a:pt x="208" y="402"/>
                    <a:pt x="208" y="387"/>
                  </a:cubicBezTo>
                  <a:cubicBezTo>
                    <a:pt x="208" y="25"/>
                    <a:pt x="208" y="25"/>
                    <a:pt x="208" y="25"/>
                  </a:cubicBezTo>
                  <a:cubicBezTo>
                    <a:pt x="208" y="11"/>
                    <a:pt x="197" y="0"/>
                    <a:pt x="182" y="0"/>
                  </a:cubicBezTo>
                  <a:close/>
                  <a:moveTo>
                    <a:pt x="104" y="380"/>
                  </a:moveTo>
                  <a:cubicBezTo>
                    <a:pt x="97" y="380"/>
                    <a:pt x="91" y="374"/>
                    <a:pt x="91" y="367"/>
                  </a:cubicBezTo>
                  <a:cubicBezTo>
                    <a:pt x="91" y="360"/>
                    <a:pt x="97" y="354"/>
                    <a:pt x="104" y="354"/>
                  </a:cubicBezTo>
                  <a:cubicBezTo>
                    <a:pt x="111" y="354"/>
                    <a:pt x="117" y="360"/>
                    <a:pt x="117" y="367"/>
                  </a:cubicBezTo>
                  <a:cubicBezTo>
                    <a:pt x="117" y="374"/>
                    <a:pt x="111" y="380"/>
                    <a:pt x="104" y="380"/>
                  </a:cubicBezTo>
                  <a:close/>
                  <a:moveTo>
                    <a:pt x="164" y="313"/>
                  </a:moveTo>
                  <a:cubicBezTo>
                    <a:pt x="44" y="313"/>
                    <a:pt x="44" y="313"/>
                    <a:pt x="44" y="313"/>
                  </a:cubicBezTo>
                  <a:cubicBezTo>
                    <a:pt x="44" y="304"/>
                    <a:pt x="44" y="304"/>
                    <a:pt x="44" y="304"/>
                  </a:cubicBezTo>
                  <a:cubicBezTo>
                    <a:pt x="164" y="304"/>
                    <a:pt x="164" y="304"/>
                    <a:pt x="164" y="304"/>
                  </a:cubicBezTo>
                  <a:lnTo>
                    <a:pt x="164" y="313"/>
                  </a:lnTo>
                  <a:close/>
                  <a:moveTo>
                    <a:pt x="164" y="287"/>
                  </a:moveTo>
                  <a:cubicBezTo>
                    <a:pt x="44" y="287"/>
                    <a:pt x="44" y="287"/>
                    <a:pt x="44" y="287"/>
                  </a:cubicBezTo>
                  <a:cubicBezTo>
                    <a:pt x="44" y="278"/>
                    <a:pt x="44" y="278"/>
                    <a:pt x="44" y="278"/>
                  </a:cubicBezTo>
                  <a:cubicBezTo>
                    <a:pt x="164" y="278"/>
                    <a:pt x="164" y="278"/>
                    <a:pt x="164" y="278"/>
                  </a:cubicBezTo>
                  <a:lnTo>
                    <a:pt x="164" y="287"/>
                  </a:lnTo>
                  <a:close/>
                  <a:moveTo>
                    <a:pt x="164" y="261"/>
                  </a:moveTo>
                  <a:cubicBezTo>
                    <a:pt x="44" y="261"/>
                    <a:pt x="44" y="261"/>
                    <a:pt x="44" y="261"/>
                  </a:cubicBezTo>
                  <a:cubicBezTo>
                    <a:pt x="44" y="252"/>
                    <a:pt x="44" y="252"/>
                    <a:pt x="44" y="252"/>
                  </a:cubicBezTo>
                  <a:cubicBezTo>
                    <a:pt x="164" y="252"/>
                    <a:pt x="164" y="252"/>
                    <a:pt x="164" y="252"/>
                  </a:cubicBezTo>
                  <a:lnTo>
                    <a:pt x="164" y="261"/>
                  </a:lnTo>
                  <a:close/>
                  <a:moveTo>
                    <a:pt x="164" y="215"/>
                  </a:moveTo>
                  <a:cubicBezTo>
                    <a:pt x="44" y="215"/>
                    <a:pt x="44" y="215"/>
                    <a:pt x="44" y="215"/>
                  </a:cubicBezTo>
                  <a:cubicBezTo>
                    <a:pt x="44" y="206"/>
                    <a:pt x="44" y="206"/>
                    <a:pt x="44" y="206"/>
                  </a:cubicBezTo>
                  <a:cubicBezTo>
                    <a:pt x="164" y="206"/>
                    <a:pt x="164" y="206"/>
                    <a:pt x="164" y="206"/>
                  </a:cubicBezTo>
                  <a:lnTo>
                    <a:pt x="164" y="215"/>
                  </a:lnTo>
                  <a:close/>
                  <a:moveTo>
                    <a:pt x="164" y="189"/>
                  </a:moveTo>
                  <a:cubicBezTo>
                    <a:pt x="44" y="189"/>
                    <a:pt x="44" y="189"/>
                    <a:pt x="44" y="189"/>
                  </a:cubicBezTo>
                  <a:cubicBezTo>
                    <a:pt x="44" y="180"/>
                    <a:pt x="44" y="180"/>
                    <a:pt x="44" y="180"/>
                  </a:cubicBezTo>
                  <a:cubicBezTo>
                    <a:pt x="164" y="180"/>
                    <a:pt x="164" y="180"/>
                    <a:pt x="164" y="180"/>
                  </a:cubicBezTo>
                  <a:lnTo>
                    <a:pt x="164" y="189"/>
                  </a:lnTo>
                  <a:close/>
                  <a:moveTo>
                    <a:pt x="164" y="163"/>
                  </a:moveTo>
                  <a:cubicBezTo>
                    <a:pt x="44" y="163"/>
                    <a:pt x="44" y="163"/>
                    <a:pt x="44" y="163"/>
                  </a:cubicBezTo>
                  <a:cubicBezTo>
                    <a:pt x="44" y="154"/>
                    <a:pt x="44" y="154"/>
                    <a:pt x="44" y="154"/>
                  </a:cubicBezTo>
                  <a:cubicBezTo>
                    <a:pt x="164" y="154"/>
                    <a:pt x="164" y="154"/>
                    <a:pt x="164" y="154"/>
                  </a:cubicBezTo>
                  <a:lnTo>
                    <a:pt x="164" y="163"/>
                  </a:lnTo>
                  <a:close/>
                </a:path>
              </a:pathLst>
            </a:custGeom>
            <a:solidFill>
              <a:srgbClr val="003F69"/>
            </a:solidFill>
            <a:ln>
              <a:noFill/>
            </a:ln>
            <a:ex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rgbClr val="FFFFFF"/>
                </a:solidFill>
              </a:endParaRPr>
            </a:p>
          </p:txBody>
        </p:sp>
      </p:grpSp>
      <p:sp>
        <p:nvSpPr>
          <p:cNvPr id="113" name="Text Box 342"/>
          <p:cNvSpPr txBox="1">
            <a:spLocks noChangeArrowheads="1"/>
          </p:cNvSpPr>
          <p:nvPr/>
        </p:nvSpPr>
        <p:spPr bwMode="auto">
          <a:xfrm>
            <a:off x="1982348" y="3273597"/>
            <a:ext cx="3584789" cy="11449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hlink">
                <a:gamma/>
                <a:shade val="60000"/>
                <a:invGamma/>
              </a:schemeClr>
            </a:prstShdw>
          </a:effectLst>
        </p:spPr>
        <p:txBody>
          <a:bodyPr wrap="square" lIns="0" rIns="0">
            <a:sp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b="1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estión</a:t>
            </a:r>
            <a:r>
              <a:rPr lang="en-US" b="1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de la </a:t>
            </a:r>
            <a:r>
              <a:rPr lang="en-US" b="1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nfiguración</a:t>
            </a:r>
            <a:endParaRPr lang="en-US" b="1" dirty="0" smtClean="0">
              <a:solidFill>
                <a:srgbClr val="4454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estión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del </a:t>
            </a: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versionamiento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de </a:t>
            </a: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ódigo</a:t>
            </a:r>
            <a:endParaRPr lang="en-US" sz="1400" dirty="0" smtClean="0">
              <a:solidFill>
                <a:srgbClr val="4454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estión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de </a:t>
            </a: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los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rtefactos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de software</a:t>
            </a: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estión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de la </a:t>
            </a: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nfiguración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del software</a:t>
            </a:r>
            <a:endParaRPr lang="en-US" sz="1400" dirty="0">
              <a:solidFill>
                <a:srgbClr val="4454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4" name="Text Box 342"/>
          <p:cNvSpPr txBox="1">
            <a:spLocks noChangeArrowheads="1"/>
          </p:cNvSpPr>
          <p:nvPr/>
        </p:nvSpPr>
        <p:spPr bwMode="auto">
          <a:xfrm>
            <a:off x="1982348" y="4706694"/>
            <a:ext cx="3435350" cy="140346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hlink">
                <a:gamma/>
                <a:shade val="60000"/>
                <a:invGamma/>
              </a:schemeClr>
            </a:prstShdw>
          </a:effectLst>
        </p:spPr>
        <p:txBody>
          <a:bodyPr wrap="square" lIns="0" rIns="0">
            <a:sp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b="1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tegración</a:t>
            </a:r>
            <a:r>
              <a:rPr lang="en-US" b="1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Continua</a:t>
            </a: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Qué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s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tegración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continua?</a:t>
            </a: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re-</a:t>
            </a: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quisitos</a:t>
            </a:r>
            <a:endParaRPr lang="en-US" sz="1400" dirty="0" smtClean="0">
              <a:solidFill>
                <a:srgbClr val="4454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uenas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racticas</a:t>
            </a:r>
            <a:endParaRPr lang="en-US" sz="1400" dirty="0" smtClean="0">
              <a:solidFill>
                <a:srgbClr val="4454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ipeline de </a:t>
            </a: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tegración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continua</a:t>
            </a:r>
            <a:endParaRPr lang="en-US" sz="1400" dirty="0">
              <a:solidFill>
                <a:srgbClr val="4454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5" name="Text Box 342"/>
          <p:cNvSpPr txBox="1">
            <a:spLocks noChangeArrowheads="1"/>
          </p:cNvSpPr>
          <p:nvPr/>
        </p:nvSpPr>
        <p:spPr bwMode="auto">
          <a:xfrm>
            <a:off x="7499067" y="1452382"/>
            <a:ext cx="3435350" cy="142192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hlink">
                <a:gamma/>
                <a:shade val="60000"/>
                <a:invGamma/>
              </a:schemeClr>
            </a:prstShdw>
          </a:effectLst>
        </p:spPr>
        <p:txBody>
          <a:bodyPr wrap="square" lIns="0" rIns="0">
            <a:sp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b="1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strategia</a:t>
            </a:r>
            <a:r>
              <a:rPr lang="en-US" b="1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de </a:t>
            </a:r>
            <a:r>
              <a:rPr lang="en-US" b="1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seguramiento</a:t>
            </a:r>
            <a:r>
              <a:rPr lang="en-US" b="1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de </a:t>
            </a:r>
            <a:r>
              <a:rPr lang="en-US" b="1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alidad</a:t>
            </a:r>
            <a:endParaRPr lang="en-US" b="1" dirty="0" smtClean="0">
              <a:solidFill>
                <a:srgbClr val="4454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Qué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s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seguramiento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de </a:t>
            </a: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alidad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?</a:t>
            </a: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hift left Testing</a:t>
            </a: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 err="1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ipos</a:t>
            </a:r>
            <a:r>
              <a:rPr lang="en-US" sz="1400" dirty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de </a:t>
            </a: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ruebas</a:t>
            </a:r>
            <a:endParaRPr lang="en-US" sz="1400" dirty="0">
              <a:solidFill>
                <a:srgbClr val="4454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6" name="Text Box 342"/>
          <p:cNvSpPr txBox="1">
            <a:spLocks noChangeArrowheads="1"/>
          </p:cNvSpPr>
          <p:nvPr/>
        </p:nvSpPr>
        <p:spPr bwMode="auto">
          <a:xfrm>
            <a:off x="7497480" y="2934781"/>
            <a:ext cx="3435350" cy="140346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hlink">
                <a:gamma/>
                <a:shade val="60000"/>
                <a:invGamma/>
              </a:schemeClr>
            </a:prstShdw>
          </a:effectLst>
        </p:spPr>
        <p:txBody>
          <a:bodyPr wrap="square" lIns="0" rIns="0">
            <a:sp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b="1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ntrega</a:t>
            </a:r>
            <a:r>
              <a:rPr lang="en-US" b="1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continua</a:t>
            </a: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Qué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s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ntrega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continua?</a:t>
            </a: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mbientes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revios</a:t>
            </a:r>
            <a:endParaRPr lang="en-US" sz="1400" dirty="0" smtClean="0">
              <a:solidFill>
                <a:srgbClr val="4454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Versionando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rtefactos</a:t>
            </a:r>
            <a:endParaRPr lang="en-US" sz="1400" dirty="0" smtClean="0">
              <a:solidFill>
                <a:srgbClr val="4454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ipeline de </a:t>
            </a: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ntrega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continua</a:t>
            </a:r>
            <a:endParaRPr lang="en-US" sz="1400" dirty="0">
              <a:solidFill>
                <a:srgbClr val="4454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7" name="Text Box 342"/>
          <p:cNvSpPr txBox="1">
            <a:spLocks noChangeArrowheads="1"/>
          </p:cNvSpPr>
          <p:nvPr/>
        </p:nvSpPr>
        <p:spPr bwMode="auto">
          <a:xfrm>
            <a:off x="7497480" y="4431727"/>
            <a:ext cx="3435350" cy="8863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hlink">
                <a:gamma/>
                <a:shade val="60000"/>
                <a:invGamma/>
              </a:schemeClr>
            </a:prstShdw>
          </a:effectLst>
        </p:spPr>
        <p:txBody>
          <a:bodyPr wrap="square" lIns="0" rIns="0">
            <a:sp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b="1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fraestructura</a:t>
            </a:r>
            <a:r>
              <a:rPr lang="en-US" b="1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1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mo</a:t>
            </a:r>
            <a:r>
              <a:rPr lang="en-US" b="1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1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ódigo</a:t>
            </a:r>
            <a:endParaRPr lang="en-US" b="1" dirty="0" smtClean="0">
              <a:solidFill>
                <a:srgbClr val="4454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provisionamiento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de </a:t>
            </a: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fraestructura</a:t>
            </a:r>
            <a:endParaRPr lang="en-US" sz="1400" dirty="0" smtClean="0">
              <a:solidFill>
                <a:srgbClr val="4454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nfiguración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de </a:t>
            </a: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mbientes</a:t>
            </a:r>
            <a:endParaRPr lang="en-US" sz="1400" dirty="0">
              <a:solidFill>
                <a:srgbClr val="4454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8" name="Text Box 342"/>
          <p:cNvSpPr txBox="1">
            <a:spLocks noChangeArrowheads="1"/>
          </p:cNvSpPr>
          <p:nvPr/>
        </p:nvSpPr>
        <p:spPr bwMode="auto">
          <a:xfrm>
            <a:off x="7499067" y="5421940"/>
            <a:ext cx="3435350" cy="6278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hlink">
                <a:gamma/>
                <a:shade val="60000"/>
                <a:invGamma/>
              </a:schemeClr>
            </a:prstShdw>
          </a:effectLst>
        </p:spPr>
        <p:txBody>
          <a:bodyPr wrap="square" lIns="0" rIns="0">
            <a:sp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b="1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ómo</a:t>
            </a:r>
            <a:r>
              <a:rPr lang="en-US" b="1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1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doptar</a:t>
            </a:r>
            <a:r>
              <a:rPr lang="en-US" b="1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DevOps?</a:t>
            </a: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mplantando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rácticas</a:t>
            </a:r>
            <a:r>
              <a:rPr lang="en-US" sz="14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DevOps?</a:t>
            </a:r>
            <a:endParaRPr lang="en-US" sz="1400" dirty="0">
              <a:solidFill>
                <a:srgbClr val="4454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7687" y="0"/>
            <a:ext cx="2410286" cy="9682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0203227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45002" y="90279"/>
            <a:ext cx="2205038" cy="885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8" name="object 10">
            <a:extLst>
              <a:ext uri="{FF2B5EF4-FFF2-40B4-BE49-F238E27FC236}">
                <a16:creationId xmlns:a16="http://schemas.microsoft.com/office/drawing/2014/main" xmlns="" id="{FCF435CE-4E75-5345-B3E5-3636FAA400A8}"/>
              </a:ext>
            </a:extLst>
          </p:cNvPr>
          <p:cNvSpPr/>
          <p:nvPr/>
        </p:nvSpPr>
        <p:spPr>
          <a:xfrm>
            <a:off x="6828434" y="-26751"/>
            <a:ext cx="2120793" cy="139505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89"/>
          </a:p>
        </p:txBody>
      </p:sp>
      <p:grpSp>
        <p:nvGrpSpPr>
          <p:cNvPr id="46" name="Grupo 45">
            <a:extLst>
              <a:ext uri="{FF2B5EF4-FFF2-40B4-BE49-F238E27FC236}">
                <a16:creationId xmlns:a16="http://schemas.microsoft.com/office/drawing/2014/main" xmlns="" id="{F92BDAD0-950C-554F-BA7D-5B3EA58D7727}"/>
              </a:ext>
            </a:extLst>
          </p:cNvPr>
          <p:cNvGrpSpPr/>
          <p:nvPr/>
        </p:nvGrpSpPr>
        <p:grpSpPr>
          <a:xfrm>
            <a:off x="340690" y="76542"/>
            <a:ext cx="6253757" cy="881555"/>
            <a:chOff x="732885" y="-146270"/>
            <a:chExt cx="6253757" cy="881555"/>
          </a:xfrm>
        </p:grpSpPr>
        <p:grpSp>
          <p:nvGrpSpPr>
            <p:cNvPr id="47" name="Grupo 377">
              <a:extLst>
                <a:ext uri="{FF2B5EF4-FFF2-40B4-BE49-F238E27FC236}">
                  <a16:creationId xmlns:a16="http://schemas.microsoft.com/office/drawing/2014/main" xmlns="" id="{82B96844-7B3E-E940-BAB0-59C8099DD39B}"/>
                </a:ext>
              </a:extLst>
            </p:cNvPr>
            <p:cNvGrpSpPr/>
            <p:nvPr/>
          </p:nvGrpSpPr>
          <p:grpSpPr>
            <a:xfrm>
              <a:off x="732885" y="-146270"/>
              <a:ext cx="6253757" cy="594237"/>
              <a:chOff x="-518276" y="-466234"/>
              <a:chExt cx="6253756" cy="594236"/>
            </a:xfrm>
          </p:grpSpPr>
          <p:pic>
            <p:nvPicPr>
              <p:cNvPr id="49" name="Picture 1" descr="Picture 1">
                <a:extLst>
                  <a:ext uri="{FF2B5EF4-FFF2-40B4-BE49-F238E27FC236}">
                    <a16:creationId xmlns:a16="http://schemas.microsoft.com/office/drawing/2014/main" xmlns="" id="{FAD9F407-C13B-0A44-89A5-EF4E03B3299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518276" y="-452497"/>
                <a:ext cx="547159" cy="547160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sp>
            <p:nvSpPr>
              <p:cNvPr id="50" name="Textplatzhalter 2">
                <a:extLst>
                  <a:ext uri="{FF2B5EF4-FFF2-40B4-BE49-F238E27FC236}">
                    <a16:creationId xmlns:a16="http://schemas.microsoft.com/office/drawing/2014/main" xmlns="" id="{0BA08C65-C8A0-9A4B-9D87-C264D5B2E176}"/>
                  </a:ext>
                </a:extLst>
              </p:cNvPr>
              <p:cNvSpPr txBox="1"/>
              <p:nvPr/>
            </p:nvSpPr>
            <p:spPr>
              <a:xfrm>
                <a:off x="262870" y="-466234"/>
                <a:ext cx="5472610" cy="59423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50405" tIns="50405" rIns="50405" bIns="50405" numCol="1" anchor="ctr">
                <a:spAutoFit/>
              </a:bodyPr>
              <a:lstStyle>
                <a:lvl1pPr>
                  <a:spcBef>
                    <a:spcPts val="600"/>
                  </a:spcBef>
                  <a:defRPr sz="2800" b="1">
                    <a:solidFill>
                      <a:srgbClr val="2F5597"/>
                    </a:solidFill>
                  </a:defRPr>
                </a:lvl1pPr>
              </a:lstStyle>
              <a:p>
                <a:r>
                  <a:rPr lang="es-ES" sz="3200" dirty="0" smtClean="0"/>
                  <a:t>Introducción a DevOps</a:t>
                </a:r>
                <a:endParaRPr lang="es-ES_tradnl" sz="3200" dirty="0"/>
              </a:p>
            </p:txBody>
          </p:sp>
        </p:grpSp>
        <p:sp>
          <p:nvSpPr>
            <p:cNvPr id="48" name="Rectángulo 11">
              <a:extLst>
                <a:ext uri="{FF2B5EF4-FFF2-40B4-BE49-F238E27FC236}">
                  <a16:creationId xmlns:a16="http://schemas.microsoft.com/office/drawing/2014/main" xmlns="" id="{73934ED6-3C0C-5941-950E-0CCA81177A29}"/>
                </a:ext>
              </a:extLst>
            </p:cNvPr>
            <p:cNvSpPr txBox="1"/>
            <p:nvPr/>
          </p:nvSpPr>
          <p:spPr>
            <a:xfrm>
              <a:off x="1499141" y="335175"/>
              <a:ext cx="1676739" cy="40011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2000">
                  <a:solidFill>
                    <a:srgbClr val="00B050"/>
                  </a:solidFill>
                </a:defRPr>
              </a:lvl1pPr>
            </a:lstStyle>
            <a:p>
              <a:r>
                <a:rPr lang="es-ES" dirty="0" smtClean="0"/>
                <a:t>Qué es DevOps</a:t>
              </a:r>
              <a:endParaRPr lang="es-ES" dirty="0"/>
            </a:p>
          </p:txBody>
        </p:sp>
      </p:grpSp>
      <p:sp>
        <p:nvSpPr>
          <p:cNvPr id="77" name="object 12">
            <a:extLst>
              <a:ext uri="{FF2B5EF4-FFF2-40B4-BE49-F238E27FC236}">
                <a16:creationId xmlns:a16="http://schemas.microsoft.com/office/drawing/2014/main" xmlns="" id="{09475707-35A9-9548-908F-9DE6F1173ECA}"/>
              </a:ext>
            </a:extLst>
          </p:cNvPr>
          <p:cNvSpPr/>
          <p:nvPr/>
        </p:nvSpPr>
        <p:spPr>
          <a:xfrm>
            <a:off x="11101748" y="786771"/>
            <a:ext cx="1090252" cy="26249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89"/>
          </a:p>
        </p:txBody>
      </p:sp>
      <p:sp>
        <p:nvSpPr>
          <p:cNvPr id="63" name="24 Rectángulo"/>
          <p:cNvSpPr>
            <a:spLocks noChangeArrowheads="1"/>
          </p:cNvSpPr>
          <p:nvPr/>
        </p:nvSpPr>
        <p:spPr bwMode="auto">
          <a:xfrm>
            <a:off x="943306" y="1588390"/>
            <a:ext cx="4797084" cy="2114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182562" lvl="1" indent="0" algn="just" eaLnBrk="1" hangingPunct="1">
              <a:lnSpc>
                <a:spcPct val="90000"/>
              </a:lnSpc>
              <a:buClr>
                <a:srgbClr val="FF0000"/>
              </a:buClr>
            </a:pPr>
            <a:r>
              <a:rPr lang="es-ES" altLang="es-ES" sz="2000" b="1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evOps </a:t>
            </a:r>
            <a:r>
              <a:rPr lang="es-ES" altLang="es-ES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on </a:t>
            </a:r>
            <a:r>
              <a:rPr lang="es-ES" altLang="es-ES" dirty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n conjunto de prácticas que fomentan la creación de una cultura de responsabilidad, transparencia y </a:t>
            </a:r>
            <a:r>
              <a:rPr lang="es-ES" altLang="es-ES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laboración ; además </a:t>
            </a:r>
            <a:r>
              <a:rPr lang="es-ES" altLang="es-ES" dirty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mpulsa la automatización de los procesos entre los equipos de desarrollo y operaciones para que puedan desplegar software con mayor frecuencia, calidad y estabilidad</a:t>
            </a:r>
            <a:r>
              <a:rPr lang="es-ES" altLang="es-ES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s-ES" altLang="es-ES" dirty="0">
              <a:solidFill>
                <a:srgbClr val="4454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4" name="Grupo 23"/>
          <p:cNvGrpSpPr/>
          <p:nvPr/>
        </p:nvGrpSpPr>
        <p:grpSpPr>
          <a:xfrm>
            <a:off x="6256310" y="1520292"/>
            <a:ext cx="4613860" cy="3733087"/>
            <a:chOff x="6256310" y="1520292"/>
            <a:chExt cx="4613860" cy="3733087"/>
          </a:xfrm>
        </p:grpSpPr>
        <p:grpSp>
          <p:nvGrpSpPr>
            <p:cNvPr id="4" name="Grupo 3"/>
            <p:cNvGrpSpPr/>
            <p:nvPr/>
          </p:nvGrpSpPr>
          <p:grpSpPr>
            <a:xfrm>
              <a:off x="6257784" y="1520292"/>
              <a:ext cx="4612386" cy="1125311"/>
              <a:chOff x="6323114" y="2919540"/>
              <a:chExt cx="4612386" cy="1125311"/>
            </a:xfrm>
          </p:grpSpPr>
          <p:sp>
            <p:nvSpPr>
              <p:cNvPr id="153" name="Rectángulo redondeado 152"/>
              <p:cNvSpPr/>
              <p:nvPr/>
            </p:nvSpPr>
            <p:spPr>
              <a:xfrm>
                <a:off x="6323114" y="2919540"/>
                <a:ext cx="1182586" cy="1125311"/>
              </a:xfrm>
              <a:prstGeom prst="roundRect">
                <a:avLst/>
              </a:prstGeom>
              <a:solidFill>
                <a:srgbClr val="FFCC05"/>
              </a:solidFill>
              <a:ln>
                <a:solidFill>
                  <a:srgbClr val="FFCC0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4" name="CuadroTexto 153"/>
              <p:cNvSpPr txBox="1"/>
              <p:nvPr/>
            </p:nvSpPr>
            <p:spPr>
              <a:xfrm>
                <a:off x="7557300" y="3053653"/>
                <a:ext cx="3340100" cy="86177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82562" lvl="1">
                  <a:buClr>
                    <a:srgbClr val="FF0000"/>
                  </a:buClr>
                </a:pPr>
                <a:r>
                  <a:rPr lang="es-ES" altLang="es-ES" sz="1400" b="1" dirty="0" err="1">
                    <a:solidFill>
                      <a:srgbClr val="4454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Self</a:t>
                </a:r>
                <a:r>
                  <a:rPr lang="es-ES" altLang="es-ES" sz="1400" b="1" dirty="0">
                    <a:solidFill>
                      <a:srgbClr val="4454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- </a:t>
                </a:r>
                <a:r>
                  <a:rPr lang="es-ES" altLang="es-ES" sz="1400" b="1" dirty="0" err="1">
                    <a:solidFill>
                      <a:srgbClr val="4454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Service</a:t>
                </a:r>
                <a:r>
                  <a:rPr lang="es-ES" altLang="es-ES" sz="1400" b="1" dirty="0">
                    <a:solidFill>
                      <a:srgbClr val="4454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: </a:t>
                </a:r>
                <a:r>
                  <a:rPr lang="es-ES" altLang="es-ES" sz="1200" dirty="0">
                    <a:solidFill>
                      <a:srgbClr val="4454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Equipos </a:t>
                </a:r>
                <a:r>
                  <a:rPr lang="es-ES" altLang="es-ES" sz="1200" dirty="0" err="1">
                    <a:solidFill>
                      <a:srgbClr val="4454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autogestionados</a:t>
                </a:r>
                <a:r>
                  <a:rPr lang="es-ES" altLang="es-ES" sz="1200" dirty="0">
                    <a:solidFill>
                      <a:srgbClr val="4454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 que pueden montar sus propios entornos virtuales y simuladores para realizar su trabajo</a:t>
                </a:r>
                <a:endParaRPr lang="en-US" sz="1200" dirty="0">
                  <a:solidFill>
                    <a:srgbClr val="4454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8" name="Grupo 7"/>
              <p:cNvGrpSpPr/>
              <p:nvPr/>
            </p:nvGrpSpPr>
            <p:grpSpPr>
              <a:xfrm>
                <a:off x="6504551" y="3053653"/>
                <a:ext cx="859650" cy="878750"/>
                <a:chOff x="6737047" y="2779793"/>
                <a:chExt cx="859650" cy="878750"/>
              </a:xfrm>
            </p:grpSpPr>
            <p:sp>
              <p:nvSpPr>
                <p:cNvPr id="187" name="Freeform 1242"/>
                <p:cNvSpPr>
                  <a:spLocks noEditPoints="1"/>
                </p:cNvSpPr>
                <p:nvPr/>
              </p:nvSpPr>
              <p:spPr bwMode="gray">
                <a:xfrm>
                  <a:off x="6908976" y="2779793"/>
                  <a:ext cx="499872" cy="754579"/>
                </a:xfrm>
                <a:custGeom>
                  <a:avLst/>
                  <a:gdLst>
                    <a:gd name="T0" fmla="*/ 112 w 219"/>
                    <a:gd name="T1" fmla="*/ 333 h 333"/>
                    <a:gd name="T2" fmla="*/ 103 w 219"/>
                    <a:gd name="T3" fmla="*/ 318 h 333"/>
                    <a:gd name="T4" fmla="*/ 39 w 219"/>
                    <a:gd name="T5" fmla="*/ 206 h 333"/>
                    <a:gd name="T6" fmla="*/ 11 w 219"/>
                    <a:gd name="T7" fmla="*/ 133 h 333"/>
                    <a:gd name="T8" fmla="*/ 91 w 219"/>
                    <a:gd name="T9" fmla="*/ 10 h 333"/>
                    <a:gd name="T10" fmla="*/ 199 w 219"/>
                    <a:gd name="T11" fmla="*/ 55 h 333"/>
                    <a:gd name="T12" fmla="*/ 212 w 219"/>
                    <a:gd name="T13" fmla="*/ 139 h 333"/>
                    <a:gd name="T14" fmla="*/ 185 w 219"/>
                    <a:gd name="T15" fmla="*/ 207 h 333"/>
                    <a:gd name="T16" fmla="*/ 113 w 219"/>
                    <a:gd name="T17" fmla="*/ 331 h 333"/>
                    <a:gd name="T18" fmla="*/ 112 w 219"/>
                    <a:gd name="T19" fmla="*/ 333 h 333"/>
                    <a:gd name="T20" fmla="*/ 112 w 219"/>
                    <a:gd name="T21" fmla="*/ 145 h 333"/>
                    <a:gd name="T22" fmla="*/ 149 w 219"/>
                    <a:gd name="T23" fmla="*/ 108 h 333"/>
                    <a:gd name="T24" fmla="*/ 112 w 219"/>
                    <a:gd name="T25" fmla="*/ 71 h 333"/>
                    <a:gd name="T26" fmla="*/ 75 w 219"/>
                    <a:gd name="T27" fmla="*/ 108 h 333"/>
                    <a:gd name="T28" fmla="*/ 112 w 219"/>
                    <a:gd name="T29" fmla="*/ 145 h 3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19" h="333">
                      <a:moveTo>
                        <a:pt x="112" y="333"/>
                      </a:moveTo>
                      <a:cubicBezTo>
                        <a:pt x="109" y="328"/>
                        <a:pt x="106" y="323"/>
                        <a:pt x="103" y="318"/>
                      </a:cubicBezTo>
                      <a:cubicBezTo>
                        <a:pt x="81" y="280"/>
                        <a:pt x="59" y="243"/>
                        <a:pt x="39" y="206"/>
                      </a:cubicBezTo>
                      <a:cubicBezTo>
                        <a:pt x="26" y="183"/>
                        <a:pt x="16" y="159"/>
                        <a:pt x="11" y="133"/>
                      </a:cubicBezTo>
                      <a:cubicBezTo>
                        <a:pt x="0" y="76"/>
                        <a:pt x="34" y="23"/>
                        <a:pt x="91" y="10"/>
                      </a:cubicBezTo>
                      <a:cubicBezTo>
                        <a:pt x="131" y="0"/>
                        <a:pt x="177" y="19"/>
                        <a:pt x="199" y="55"/>
                      </a:cubicBezTo>
                      <a:cubicBezTo>
                        <a:pt x="215" y="81"/>
                        <a:pt x="219" y="109"/>
                        <a:pt x="212" y="139"/>
                      </a:cubicBezTo>
                      <a:cubicBezTo>
                        <a:pt x="206" y="163"/>
                        <a:pt x="197" y="186"/>
                        <a:pt x="185" y="207"/>
                      </a:cubicBezTo>
                      <a:cubicBezTo>
                        <a:pt x="161" y="249"/>
                        <a:pt x="137" y="290"/>
                        <a:pt x="113" y="331"/>
                      </a:cubicBezTo>
                      <a:cubicBezTo>
                        <a:pt x="113" y="332"/>
                        <a:pt x="113" y="332"/>
                        <a:pt x="112" y="333"/>
                      </a:cubicBezTo>
                      <a:close/>
                      <a:moveTo>
                        <a:pt x="112" y="145"/>
                      </a:moveTo>
                      <a:cubicBezTo>
                        <a:pt x="132" y="145"/>
                        <a:pt x="149" y="129"/>
                        <a:pt x="149" y="108"/>
                      </a:cubicBezTo>
                      <a:cubicBezTo>
                        <a:pt x="149" y="88"/>
                        <a:pt x="132" y="71"/>
                        <a:pt x="112" y="71"/>
                      </a:cubicBezTo>
                      <a:cubicBezTo>
                        <a:pt x="92" y="71"/>
                        <a:pt x="75" y="88"/>
                        <a:pt x="75" y="108"/>
                      </a:cubicBezTo>
                      <a:cubicBezTo>
                        <a:pt x="75" y="128"/>
                        <a:pt x="92" y="145"/>
                        <a:pt x="112" y="14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8" name="Freeform 1243"/>
                <p:cNvSpPr>
                  <a:spLocks noEditPoints="1"/>
                </p:cNvSpPr>
                <p:nvPr/>
              </p:nvSpPr>
              <p:spPr bwMode="gray">
                <a:xfrm>
                  <a:off x="6737047" y="3375179"/>
                  <a:ext cx="859650" cy="283364"/>
                </a:xfrm>
                <a:custGeom>
                  <a:avLst/>
                  <a:gdLst>
                    <a:gd name="T0" fmla="*/ 246 w 379"/>
                    <a:gd name="T1" fmla="*/ 28 h 124"/>
                    <a:gd name="T2" fmla="*/ 262 w 379"/>
                    <a:gd name="T3" fmla="*/ 2 h 124"/>
                    <a:gd name="T4" fmla="*/ 266 w 379"/>
                    <a:gd name="T5" fmla="*/ 1 h 124"/>
                    <a:gd name="T6" fmla="*/ 314 w 379"/>
                    <a:gd name="T7" fmla="*/ 1 h 124"/>
                    <a:gd name="T8" fmla="*/ 318 w 379"/>
                    <a:gd name="T9" fmla="*/ 3 h 124"/>
                    <a:gd name="T10" fmla="*/ 378 w 379"/>
                    <a:gd name="T11" fmla="*/ 123 h 124"/>
                    <a:gd name="T12" fmla="*/ 378 w 379"/>
                    <a:gd name="T13" fmla="*/ 124 h 124"/>
                    <a:gd name="T14" fmla="*/ 0 w 379"/>
                    <a:gd name="T15" fmla="*/ 124 h 124"/>
                    <a:gd name="T16" fmla="*/ 1 w 379"/>
                    <a:gd name="T17" fmla="*/ 121 h 124"/>
                    <a:gd name="T18" fmla="*/ 59 w 379"/>
                    <a:gd name="T19" fmla="*/ 4 h 124"/>
                    <a:gd name="T20" fmla="*/ 66 w 379"/>
                    <a:gd name="T21" fmla="*/ 0 h 124"/>
                    <a:gd name="T22" fmla="*/ 112 w 379"/>
                    <a:gd name="T23" fmla="*/ 0 h 124"/>
                    <a:gd name="T24" fmla="*/ 118 w 379"/>
                    <a:gd name="T25" fmla="*/ 4 h 124"/>
                    <a:gd name="T26" fmla="*/ 132 w 379"/>
                    <a:gd name="T27" fmla="*/ 28 h 124"/>
                    <a:gd name="T28" fmla="*/ 87 w 379"/>
                    <a:gd name="T29" fmla="*/ 28 h 124"/>
                    <a:gd name="T30" fmla="*/ 97 w 379"/>
                    <a:gd name="T31" fmla="*/ 53 h 124"/>
                    <a:gd name="T32" fmla="*/ 141 w 379"/>
                    <a:gd name="T33" fmla="*/ 52 h 124"/>
                    <a:gd name="T34" fmla="*/ 149 w 379"/>
                    <a:gd name="T35" fmla="*/ 57 h 124"/>
                    <a:gd name="T36" fmla="*/ 155 w 379"/>
                    <a:gd name="T37" fmla="*/ 66 h 124"/>
                    <a:gd name="T38" fmla="*/ 134 w 379"/>
                    <a:gd name="T39" fmla="*/ 67 h 124"/>
                    <a:gd name="T40" fmla="*/ 130 w 379"/>
                    <a:gd name="T41" fmla="*/ 69 h 124"/>
                    <a:gd name="T42" fmla="*/ 118 w 379"/>
                    <a:gd name="T43" fmla="*/ 97 h 124"/>
                    <a:gd name="T44" fmla="*/ 271 w 379"/>
                    <a:gd name="T45" fmla="*/ 97 h 124"/>
                    <a:gd name="T46" fmla="*/ 259 w 379"/>
                    <a:gd name="T47" fmla="*/ 68 h 124"/>
                    <a:gd name="T48" fmla="*/ 255 w 379"/>
                    <a:gd name="T49" fmla="*/ 67 h 124"/>
                    <a:gd name="T50" fmla="*/ 229 w 379"/>
                    <a:gd name="T51" fmla="*/ 66 h 124"/>
                    <a:gd name="T52" fmla="*/ 224 w 379"/>
                    <a:gd name="T53" fmla="*/ 66 h 124"/>
                    <a:gd name="T54" fmla="*/ 231 w 379"/>
                    <a:gd name="T55" fmla="*/ 54 h 124"/>
                    <a:gd name="T56" fmla="*/ 236 w 379"/>
                    <a:gd name="T57" fmla="*/ 53 h 124"/>
                    <a:gd name="T58" fmla="*/ 306 w 379"/>
                    <a:gd name="T59" fmla="*/ 53 h 124"/>
                    <a:gd name="T60" fmla="*/ 312 w 379"/>
                    <a:gd name="T61" fmla="*/ 53 h 124"/>
                    <a:gd name="T62" fmla="*/ 300 w 379"/>
                    <a:gd name="T63" fmla="*/ 30 h 124"/>
                    <a:gd name="T64" fmla="*/ 296 w 379"/>
                    <a:gd name="T65" fmla="*/ 28 h 124"/>
                    <a:gd name="T66" fmla="*/ 253 w 379"/>
                    <a:gd name="T67" fmla="*/ 28 h 124"/>
                    <a:gd name="T68" fmla="*/ 246 w 379"/>
                    <a:gd name="T69" fmla="*/ 28 h 124"/>
                    <a:gd name="T70" fmla="*/ 75 w 379"/>
                    <a:gd name="T71" fmla="*/ 35 h 124"/>
                    <a:gd name="T72" fmla="*/ 44 w 379"/>
                    <a:gd name="T73" fmla="*/ 96 h 124"/>
                    <a:gd name="T74" fmla="*/ 46 w 379"/>
                    <a:gd name="T75" fmla="*/ 97 h 124"/>
                    <a:gd name="T76" fmla="*/ 99 w 379"/>
                    <a:gd name="T77" fmla="*/ 97 h 124"/>
                    <a:gd name="T78" fmla="*/ 103 w 379"/>
                    <a:gd name="T79" fmla="*/ 94 h 124"/>
                    <a:gd name="T80" fmla="*/ 112 w 379"/>
                    <a:gd name="T81" fmla="*/ 74 h 124"/>
                    <a:gd name="T82" fmla="*/ 115 w 379"/>
                    <a:gd name="T83" fmla="*/ 66 h 124"/>
                    <a:gd name="T84" fmla="*/ 93 w 379"/>
                    <a:gd name="T85" fmla="*/ 67 h 124"/>
                    <a:gd name="T86" fmla="*/ 85 w 379"/>
                    <a:gd name="T87" fmla="*/ 62 h 124"/>
                    <a:gd name="T88" fmla="*/ 75 w 379"/>
                    <a:gd name="T89" fmla="*/ 35 h 124"/>
                    <a:gd name="T90" fmla="*/ 273 w 379"/>
                    <a:gd name="T91" fmla="*/ 66 h 124"/>
                    <a:gd name="T92" fmla="*/ 285 w 379"/>
                    <a:gd name="T93" fmla="*/ 95 h 124"/>
                    <a:gd name="T94" fmla="*/ 289 w 379"/>
                    <a:gd name="T95" fmla="*/ 97 h 124"/>
                    <a:gd name="T96" fmla="*/ 327 w 379"/>
                    <a:gd name="T97" fmla="*/ 97 h 124"/>
                    <a:gd name="T98" fmla="*/ 334 w 379"/>
                    <a:gd name="T99" fmla="*/ 97 h 124"/>
                    <a:gd name="T100" fmla="*/ 320 w 379"/>
                    <a:gd name="T101" fmla="*/ 68 h 124"/>
                    <a:gd name="T102" fmla="*/ 317 w 379"/>
                    <a:gd name="T103" fmla="*/ 67 h 124"/>
                    <a:gd name="T104" fmla="*/ 273 w 379"/>
                    <a:gd name="T105" fmla="*/ 66 h 1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379" h="124">
                      <a:moveTo>
                        <a:pt x="246" y="28"/>
                      </a:moveTo>
                      <a:cubicBezTo>
                        <a:pt x="252" y="19"/>
                        <a:pt x="257" y="10"/>
                        <a:pt x="262" y="2"/>
                      </a:cubicBezTo>
                      <a:cubicBezTo>
                        <a:pt x="262" y="1"/>
                        <a:pt x="264" y="1"/>
                        <a:pt x="266" y="1"/>
                      </a:cubicBezTo>
                      <a:cubicBezTo>
                        <a:pt x="282" y="0"/>
                        <a:pt x="298" y="0"/>
                        <a:pt x="314" y="1"/>
                      </a:cubicBezTo>
                      <a:cubicBezTo>
                        <a:pt x="315" y="1"/>
                        <a:pt x="317" y="2"/>
                        <a:pt x="318" y="3"/>
                      </a:cubicBezTo>
                      <a:cubicBezTo>
                        <a:pt x="338" y="43"/>
                        <a:pt x="358" y="83"/>
                        <a:pt x="378" y="123"/>
                      </a:cubicBezTo>
                      <a:cubicBezTo>
                        <a:pt x="379" y="124"/>
                        <a:pt x="378" y="124"/>
                        <a:pt x="378" y="124"/>
                      </a:cubicBezTo>
                      <a:cubicBezTo>
                        <a:pt x="252" y="124"/>
                        <a:pt x="126" y="124"/>
                        <a:pt x="0" y="124"/>
                      </a:cubicBezTo>
                      <a:cubicBezTo>
                        <a:pt x="0" y="123"/>
                        <a:pt x="0" y="122"/>
                        <a:pt x="1" y="121"/>
                      </a:cubicBezTo>
                      <a:cubicBezTo>
                        <a:pt x="20" y="82"/>
                        <a:pt x="40" y="43"/>
                        <a:pt x="59" y="4"/>
                      </a:cubicBezTo>
                      <a:cubicBezTo>
                        <a:pt x="61" y="1"/>
                        <a:pt x="62" y="0"/>
                        <a:pt x="66" y="0"/>
                      </a:cubicBezTo>
                      <a:cubicBezTo>
                        <a:pt x="81" y="1"/>
                        <a:pt x="96" y="0"/>
                        <a:pt x="112" y="0"/>
                      </a:cubicBezTo>
                      <a:cubicBezTo>
                        <a:pt x="114" y="0"/>
                        <a:pt x="116" y="1"/>
                        <a:pt x="118" y="4"/>
                      </a:cubicBezTo>
                      <a:cubicBezTo>
                        <a:pt x="122" y="11"/>
                        <a:pt x="127" y="19"/>
                        <a:pt x="132" y="28"/>
                      </a:cubicBezTo>
                      <a:cubicBezTo>
                        <a:pt x="117" y="28"/>
                        <a:pt x="102" y="28"/>
                        <a:pt x="87" y="28"/>
                      </a:cubicBezTo>
                      <a:cubicBezTo>
                        <a:pt x="90" y="37"/>
                        <a:pt x="94" y="44"/>
                        <a:pt x="97" y="53"/>
                      </a:cubicBezTo>
                      <a:cubicBezTo>
                        <a:pt x="112" y="53"/>
                        <a:pt x="126" y="53"/>
                        <a:pt x="141" y="52"/>
                      </a:cubicBezTo>
                      <a:cubicBezTo>
                        <a:pt x="145" y="52"/>
                        <a:pt x="147" y="53"/>
                        <a:pt x="149" y="57"/>
                      </a:cubicBezTo>
                      <a:cubicBezTo>
                        <a:pt x="150" y="60"/>
                        <a:pt x="152" y="63"/>
                        <a:pt x="155" y="66"/>
                      </a:cubicBezTo>
                      <a:cubicBezTo>
                        <a:pt x="147" y="66"/>
                        <a:pt x="141" y="66"/>
                        <a:pt x="134" y="67"/>
                      </a:cubicBezTo>
                      <a:cubicBezTo>
                        <a:pt x="133" y="67"/>
                        <a:pt x="130" y="68"/>
                        <a:pt x="130" y="69"/>
                      </a:cubicBezTo>
                      <a:cubicBezTo>
                        <a:pt x="126" y="78"/>
                        <a:pt x="122" y="87"/>
                        <a:pt x="118" y="97"/>
                      </a:cubicBezTo>
                      <a:cubicBezTo>
                        <a:pt x="169" y="97"/>
                        <a:pt x="219" y="97"/>
                        <a:pt x="271" y="97"/>
                      </a:cubicBezTo>
                      <a:cubicBezTo>
                        <a:pt x="267" y="87"/>
                        <a:pt x="263" y="77"/>
                        <a:pt x="259" y="68"/>
                      </a:cubicBezTo>
                      <a:cubicBezTo>
                        <a:pt x="258" y="67"/>
                        <a:pt x="256" y="67"/>
                        <a:pt x="255" y="67"/>
                      </a:cubicBezTo>
                      <a:cubicBezTo>
                        <a:pt x="246" y="66"/>
                        <a:pt x="238" y="66"/>
                        <a:pt x="229" y="66"/>
                      </a:cubicBezTo>
                      <a:cubicBezTo>
                        <a:pt x="228" y="66"/>
                        <a:pt x="226" y="66"/>
                        <a:pt x="224" y="66"/>
                      </a:cubicBezTo>
                      <a:cubicBezTo>
                        <a:pt x="226" y="62"/>
                        <a:pt x="229" y="58"/>
                        <a:pt x="231" y="54"/>
                      </a:cubicBezTo>
                      <a:cubicBezTo>
                        <a:pt x="232" y="53"/>
                        <a:pt x="234" y="53"/>
                        <a:pt x="236" y="53"/>
                      </a:cubicBezTo>
                      <a:cubicBezTo>
                        <a:pt x="259" y="53"/>
                        <a:pt x="283" y="53"/>
                        <a:pt x="306" y="53"/>
                      </a:cubicBezTo>
                      <a:cubicBezTo>
                        <a:pt x="308" y="53"/>
                        <a:pt x="309" y="53"/>
                        <a:pt x="312" y="53"/>
                      </a:cubicBezTo>
                      <a:cubicBezTo>
                        <a:pt x="308" y="45"/>
                        <a:pt x="304" y="37"/>
                        <a:pt x="300" y="30"/>
                      </a:cubicBezTo>
                      <a:cubicBezTo>
                        <a:pt x="300" y="29"/>
                        <a:pt x="297" y="28"/>
                        <a:pt x="296" y="28"/>
                      </a:cubicBezTo>
                      <a:cubicBezTo>
                        <a:pt x="281" y="28"/>
                        <a:pt x="267" y="28"/>
                        <a:pt x="253" y="28"/>
                      </a:cubicBezTo>
                      <a:cubicBezTo>
                        <a:pt x="251" y="28"/>
                        <a:pt x="249" y="28"/>
                        <a:pt x="246" y="28"/>
                      </a:cubicBezTo>
                      <a:close/>
                      <a:moveTo>
                        <a:pt x="75" y="35"/>
                      </a:moveTo>
                      <a:cubicBezTo>
                        <a:pt x="64" y="56"/>
                        <a:pt x="54" y="76"/>
                        <a:pt x="44" y="96"/>
                      </a:cubicBezTo>
                      <a:cubicBezTo>
                        <a:pt x="45" y="97"/>
                        <a:pt x="46" y="97"/>
                        <a:pt x="46" y="97"/>
                      </a:cubicBezTo>
                      <a:cubicBezTo>
                        <a:pt x="64" y="97"/>
                        <a:pt x="82" y="97"/>
                        <a:pt x="99" y="97"/>
                      </a:cubicBezTo>
                      <a:cubicBezTo>
                        <a:pt x="101" y="97"/>
                        <a:pt x="103" y="95"/>
                        <a:pt x="103" y="94"/>
                      </a:cubicBezTo>
                      <a:cubicBezTo>
                        <a:pt x="107" y="88"/>
                        <a:pt x="109" y="81"/>
                        <a:pt x="112" y="74"/>
                      </a:cubicBezTo>
                      <a:cubicBezTo>
                        <a:pt x="113" y="72"/>
                        <a:pt x="114" y="69"/>
                        <a:pt x="115" y="66"/>
                      </a:cubicBezTo>
                      <a:cubicBezTo>
                        <a:pt x="107" y="66"/>
                        <a:pt x="100" y="66"/>
                        <a:pt x="93" y="67"/>
                      </a:cubicBezTo>
                      <a:cubicBezTo>
                        <a:pt x="89" y="67"/>
                        <a:pt x="87" y="66"/>
                        <a:pt x="85" y="62"/>
                      </a:cubicBezTo>
                      <a:cubicBezTo>
                        <a:pt x="82" y="53"/>
                        <a:pt x="79" y="45"/>
                        <a:pt x="75" y="35"/>
                      </a:cubicBezTo>
                      <a:close/>
                      <a:moveTo>
                        <a:pt x="273" y="66"/>
                      </a:moveTo>
                      <a:cubicBezTo>
                        <a:pt x="277" y="76"/>
                        <a:pt x="281" y="86"/>
                        <a:pt x="285" y="95"/>
                      </a:cubicBezTo>
                      <a:cubicBezTo>
                        <a:pt x="286" y="96"/>
                        <a:pt x="288" y="97"/>
                        <a:pt x="289" y="97"/>
                      </a:cubicBezTo>
                      <a:cubicBezTo>
                        <a:pt x="302" y="97"/>
                        <a:pt x="315" y="97"/>
                        <a:pt x="327" y="97"/>
                      </a:cubicBezTo>
                      <a:cubicBezTo>
                        <a:pt x="329" y="97"/>
                        <a:pt x="331" y="97"/>
                        <a:pt x="334" y="97"/>
                      </a:cubicBezTo>
                      <a:cubicBezTo>
                        <a:pt x="329" y="87"/>
                        <a:pt x="324" y="77"/>
                        <a:pt x="320" y="68"/>
                      </a:cubicBezTo>
                      <a:cubicBezTo>
                        <a:pt x="319" y="67"/>
                        <a:pt x="318" y="67"/>
                        <a:pt x="317" y="67"/>
                      </a:cubicBezTo>
                      <a:cubicBezTo>
                        <a:pt x="303" y="66"/>
                        <a:pt x="288" y="66"/>
                        <a:pt x="273" y="66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45" name="Rounded Rectangle 8"/>
              <p:cNvSpPr/>
              <p:nvPr/>
            </p:nvSpPr>
            <p:spPr>
              <a:xfrm flipH="1">
                <a:off x="7595400" y="2925153"/>
                <a:ext cx="3340100" cy="1119698"/>
              </a:xfrm>
              <a:prstGeom prst="roundRect">
                <a:avLst/>
              </a:prstGeom>
              <a:noFill/>
              <a:ln w="19050">
                <a:solidFill>
                  <a:srgbClr val="FFCC05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 sz="2968"/>
              </a:p>
            </p:txBody>
          </p:sp>
        </p:grpSp>
        <p:grpSp>
          <p:nvGrpSpPr>
            <p:cNvPr id="18" name="Grupo 17"/>
            <p:cNvGrpSpPr/>
            <p:nvPr/>
          </p:nvGrpSpPr>
          <p:grpSpPr>
            <a:xfrm>
              <a:off x="6256310" y="2800477"/>
              <a:ext cx="4613860" cy="1165172"/>
              <a:chOff x="6573810" y="3003677"/>
              <a:chExt cx="4613860" cy="1165172"/>
            </a:xfrm>
          </p:grpSpPr>
          <p:grpSp>
            <p:nvGrpSpPr>
              <p:cNvPr id="15" name="Grupo 14"/>
              <p:cNvGrpSpPr/>
              <p:nvPr/>
            </p:nvGrpSpPr>
            <p:grpSpPr>
              <a:xfrm>
                <a:off x="10005083" y="3003677"/>
                <a:ext cx="1182587" cy="1132816"/>
                <a:chOff x="6587538" y="3042349"/>
                <a:chExt cx="1182587" cy="1132816"/>
              </a:xfrm>
            </p:grpSpPr>
            <p:sp>
              <p:nvSpPr>
                <p:cNvPr id="162" name="Rectángulo redondeado 161"/>
                <p:cNvSpPr/>
                <p:nvPr/>
              </p:nvSpPr>
              <p:spPr>
                <a:xfrm>
                  <a:off x="6587538" y="3042349"/>
                  <a:ext cx="1182587" cy="1132816"/>
                </a:xfrm>
                <a:prstGeom prst="roundRect">
                  <a:avLst/>
                </a:prstGeom>
                <a:solidFill>
                  <a:srgbClr val="79B84F"/>
                </a:solidFill>
                <a:ln>
                  <a:solidFill>
                    <a:srgbClr val="79B84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9" name="Grupo 8"/>
                <p:cNvGrpSpPr/>
                <p:nvPr/>
              </p:nvGrpSpPr>
              <p:grpSpPr>
                <a:xfrm>
                  <a:off x="6729798" y="3149438"/>
                  <a:ext cx="916000" cy="915996"/>
                  <a:chOff x="6623105" y="4254401"/>
                  <a:chExt cx="916000" cy="915996"/>
                </a:xfrm>
              </p:grpSpPr>
              <p:sp>
                <p:nvSpPr>
                  <p:cNvPr id="189" name="Freeform 1146"/>
                  <p:cNvSpPr>
                    <a:spLocks noEditPoints="1"/>
                  </p:cNvSpPr>
                  <p:nvPr/>
                </p:nvSpPr>
                <p:spPr bwMode="gray">
                  <a:xfrm>
                    <a:off x="6623105" y="4254401"/>
                    <a:ext cx="916000" cy="915996"/>
                  </a:xfrm>
                  <a:custGeom>
                    <a:avLst/>
                    <a:gdLst>
                      <a:gd name="T0" fmla="*/ 313 w 313"/>
                      <a:gd name="T1" fmla="*/ 157 h 313"/>
                      <a:gd name="T2" fmla="*/ 157 w 313"/>
                      <a:gd name="T3" fmla="*/ 313 h 313"/>
                      <a:gd name="T4" fmla="*/ 0 w 313"/>
                      <a:gd name="T5" fmla="*/ 157 h 313"/>
                      <a:gd name="T6" fmla="*/ 157 w 313"/>
                      <a:gd name="T7" fmla="*/ 0 h 313"/>
                      <a:gd name="T8" fmla="*/ 313 w 313"/>
                      <a:gd name="T9" fmla="*/ 157 h 313"/>
                      <a:gd name="T10" fmla="*/ 283 w 313"/>
                      <a:gd name="T11" fmla="*/ 157 h 313"/>
                      <a:gd name="T12" fmla="*/ 158 w 313"/>
                      <a:gd name="T13" fmla="*/ 31 h 313"/>
                      <a:gd name="T14" fmla="*/ 31 w 313"/>
                      <a:gd name="T15" fmla="*/ 155 h 313"/>
                      <a:gd name="T16" fmla="*/ 154 w 313"/>
                      <a:gd name="T17" fmla="*/ 283 h 313"/>
                      <a:gd name="T18" fmla="*/ 283 w 313"/>
                      <a:gd name="T19" fmla="*/ 157 h 3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313" h="313">
                        <a:moveTo>
                          <a:pt x="313" y="157"/>
                        </a:moveTo>
                        <a:cubicBezTo>
                          <a:pt x="313" y="243"/>
                          <a:pt x="243" y="313"/>
                          <a:pt x="157" y="313"/>
                        </a:cubicBezTo>
                        <a:cubicBezTo>
                          <a:pt x="71" y="313"/>
                          <a:pt x="0" y="243"/>
                          <a:pt x="0" y="157"/>
                        </a:cubicBezTo>
                        <a:cubicBezTo>
                          <a:pt x="0" y="71"/>
                          <a:pt x="70" y="0"/>
                          <a:pt x="157" y="0"/>
                        </a:cubicBezTo>
                        <a:cubicBezTo>
                          <a:pt x="243" y="0"/>
                          <a:pt x="313" y="70"/>
                          <a:pt x="313" y="157"/>
                        </a:cubicBezTo>
                        <a:close/>
                        <a:moveTo>
                          <a:pt x="283" y="157"/>
                        </a:moveTo>
                        <a:cubicBezTo>
                          <a:pt x="284" y="89"/>
                          <a:pt x="227" y="32"/>
                          <a:pt x="158" y="31"/>
                        </a:cubicBezTo>
                        <a:cubicBezTo>
                          <a:pt x="89" y="30"/>
                          <a:pt x="31" y="86"/>
                          <a:pt x="31" y="155"/>
                        </a:cubicBezTo>
                        <a:cubicBezTo>
                          <a:pt x="30" y="225"/>
                          <a:pt x="86" y="282"/>
                          <a:pt x="154" y="283"/>
                        </a:cubicBezTo>
                        <a:cubicBezTo>
                          <a:pt x="226" y="284"/>
                          <a:pt x="282" y="229"/>
                          <a:pt x="283" y="15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190" name="Freeform 1148"/>
                  <p:cNvSpPr>
                    <a:spLocks/>
                  </p:cNvSpPr>
                  <p:nvPr/>
                </p:nvSpPr>
                <p:spPr bwMode="gray">
                  <a:xfrm rot="16200000">
                    <a:off x="6876645" y="4439244"/>
                    <a:ext cx="402547" cy="533990"/>
                  </a:xfrm>
                  <a:custGeom>
                    <a:avLst/>
                    <a:gdLst>
                      <a:gd name="T0" fmla="*/ 0 w 138"/>
                      <a:gd name="T1" fmla="*/ 98 h 182"/>
                      <a:gd name="T2" fmla="*/ 0 w 138"/>
                      <a:gd name="T3" fmla="*/ 51 h 182"/>
                      <a:gd name="T4" fmla="*/ 0 w 138"/>
                      <a:gd name="T5" fmla="*/ 47 h 182"/>
                      <a:gd name="T6" fmla="*/ 10 w 138"/>
                      <a:gd name="T7" fmla="*/ 38 h 182"/>
                      <a:gd name="T8" fmla="*/ 18 w 138"/>
                      <a:gd name="T9" fmla="*/ 48 h 182"/>
                      <a:gd name="T10" fmla="*/ 18 w 138"/>
                      <a:gd name="T11" fmla="*/ 88 h 182"/>
                      <a:gd name="T12" fmla="*/ 21 w 138"/>
                      <a:gd name="T13" fmla="*/ 93 h 182"/>
                      <a:gd name="T14" fmla="*/ 25 w 138"/>
                      <a:gd name="T15" fmla="*/ 89 h 182"/>
                      <a:gd name="T16" fmla="*/ 25 w 138"/>
                      <a:gd name="T17" fmla="*/ 49 h 182"/>
                      <a:gd name="T18" fmla="*/ 25 w 138"/>
                      <a:gd name="T19" fmla="*/ 23 h 182"/>
                      <a:gd name="T20" fmla="*/ 35 w 138"/>
                      <a:gd name="T21" fmla="*/ 11 h 182"/>
                      <a:gd name="T22" fmla="*/ 45 w 138"/>
                      <a:gd name="T23" fmla="*/ 22 h 182"/>
                      <a:gd name="T24" fmla="*/ 45 w 138"/>
                      <a:gd name="T25" fmla="*/ 83 h 182"/>
                      <a:gd name="T26" fmla="*/ 45 w 138"/>
                      <a:gd name="T27" fmla="*/ 87 h 182"/>
                      <a:gd name="T28" fmla="*/ 48 w 138"/>
                      <a:gd name="T29" fmla="*/ 89 h 182"/>
                      <a:gd name="T30" fmla="*/ 51 w 138"/>
                      <a:gd name="T31" fmla="*/ 87 h 182"/>
                      <a:gd name="T32" fmla="*/ 51 w 138"/>
                      <a:gd name="T33" fmla="*/ 83 h 182"/>
                      <a:gd name="T34" fmla="*/ 51 w 138"/>
                      <a:gd name="T35" fmla="*/ 12 h 182"/>
                      <a:gd name="T36" fmla="*/ 60 w 138"/>
                      <a:gd name="T37" fmla="*/ 0 h 182"/>
                      <a:gd name="T38" fmla="*/ 71 w 138"/>
                      <a:gd name="T39" fmla="*/ 9 h 182"/>
                      <a:gd name="T40" fmla="*/ 71 w 138"/>
                      <a:gd name="T41" fmla="*/ 42 h 182"/>
                      <a:gd name="T42" fmla="*/ 71 w 138"/>
                      <a:gd name="T43" fmla="*/ 84 h 182"/>
                      <a:gd name="T44" fmla="*/ 71 w 138"/>
                      <a:gd name="T45" fmla="*/ 86 h 182"/>
                      <a:gd name="T46" fmla="*/ 74 w 138"/>
                      <a:gd name="T47" fmla="*/ 90 h 182"/>
                      <a:gd name="T48" fmla="*/ 77 w 138"/>
                      <a:gd name="T49" fmla="*/ 86 h 182"/>
                      <a:gd name="T50" fmla="*/ 77 w 138"/>
                      <a:gd name="T51" fmla="*/ 57 h 182"/>
                      <a:gd name="T52" fmla="*/ 77 w 138"/>
                      <a:gd name="T53" fmla="*/ 23 h 182"/>
                      <a:gd name="T54" fmla="*/ 85 w 138"/>
                      <a:gd name="T55" fmla="*/ 13 h 182"/>
                      <a:gd name="T56" fmla="*/ 96 w 138"/>
                      <a:gd name="T57" fmla="*/ 23 h 182"/>
                      <a:gd name="T58" fmla="*/ 96 w 138"/>
                      <a:gd name="T59" fmla="*/ 100 h 182"/>
                      <a:gd name="T60" fmla="*/ 98 w 138"/>
                      <a:gd name="T61" fmla="*/ 107 h 182"/>
                      <a:gd name="T62" fmla="*/ 104 w 138"/>
                      <a:gd name="T63" fmla="*/ 102 h 182"/>
                      <a:gd name="T64" fmla="*/ 115 w 138"/>
                      <a:gd name="T65" fmla="*/ 80 h 182"/>
                      <a:gd name="T66" fmla="*/ 128 w 138"/>
                      <a:gd name="T67" fmla="*/ 74 h 182"/>
                      <a:gd name="T68" fmla="*/ 138 w 138"/>
                      <a:gd name="T69" fmla="*/ 84 h 182"/>
                      <a:gd name="T70" fmla="*/ 136 w 138"/>
                      <a:gd name="T71" fmla="*/ 92 h 182"/>
                      <a:gd name="T72" fmla="*/ 105 w 138"/>
                      <a:gd name="T73" fmla="*/ 161 h 182"/>
                      <a:gd name="T74" fmla="*/ 71 w 138"/>
                      <a:gd name="T75" fmla="*/ 182 h 182"/>
                      <a:gd name="T76" fmla="*/ 31 w 138"/>
                      <a:gd name="T77" fmla="*/ 182 h 182"/>
                      <a:gd name="T78" fmla="*/ 3 w 138"/>
                      <a:gd name="T79" fmla="*/ 162 h 182"/>
                      <a:gd name="T80" fmla="*/ 0 w 138"/>
                      <a:gd name="T81" fmla="*/ 144 h 182"/>
                      <a:gd name="T82" fmla="*/ 0 w 138"/>
                      <a:gd name="T83" fmla="*/ 98 h 182"/>
                      <a:gd name="T84" fmla="*/ 0 w 138"/>
                      <a:gd name="T85" fmla="*/ 98 h 1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</a:cxnLst>
                    <a:rect l="0" t="0" r="r" b="b"/>
                    <a:pathLst>
                      <a:path w="138" h="182">
                        <a:moveTo>
                          <a:pt x="0" y="98"/>
                        </a:moveTo>
                        <a:cubicBezTo>
                          <a:pt x="0" y="82"/>
                          <a:pt x="0" y="66"/>
                          <a:pt x="0" y="51"/>
                        </a:cubicBezTo>
                        <a:cubicBezTo>
                          <a:pt x="0" y="50"/>
                          <a:pt x="0" y="48"/>
                          <a:pt x="0" y="47"/>
                        </a:cubicBezTo>
                        <a:cubicBezTo>
                          <a:pt x="1" y="41"/>
                          <a:pt x="5" y="38"/>
                          <a:pt x="10" y="38"/>
                        </a:cubicBezTo>
                        <a:cubicBezTo>
                          <a:pt x="15" y="39"/>
                          <a:pt x="18" y="42"/>
                          <a:pt x="18" y="48"/>
                        </a:cubicBezTo>
                        <a:cubicBezTo>
                          <a:pt x="18" y="61"/>
                          <a:pt x="18" y="75"/>
                          <a:pt x="18" y="88"/>
                        </a:cubicBezTo>
                        <a:cubicBezTo>
                          <a:pt x="18" y="90"/>
                          <a:pt x="19" y="92"/>
                          <a:pt x="21" y="93"/>
                        </a:cubicBezTo>
                        <a:cubicBezTo>
                          <a:pt x="23" y="94"/>
                          <a:pt x="25" y="92"/>
                          <a:pt x="25" y="89"/>
                        </a:cubicBezTo>
                        <a:cubicBezTo>
                          <a:pt x="25" y="75"/>
                          <a:pt x="25" y="62"/>
                          <a:pt x="25" y="49"/>
                        </a:cubicBezTo>
                        <a:cubicBezTo>
                          <a:pt x="25" y="40"/>
                          <a:pt x="25" y="31"/>
                          <a:pt x="25" y="23"/>
                        </a:cubicBezTo>
                        <a:cubicBezTo>
                          <a:pt x="25" y="15"/>
                          <a:pt x="28" y="11"/>
                          <a:pt x="35" y="11"/>
                        </a:cubicBezTo>
                        <a:cubicBezTo>
                          <a:pt x="41" y="11"/>
                          <a:pt x="45" y="15"/>
                          <a:pt x="45" y="22"/>
                        </a:cubicBezTo>
                        <a:cubicBezTo>
                          <a:pt x="45" y="42"/>
                          <a:pt x="45" y="63"/>
                          <a:pt x="45" y="83"/>
                        </a:cubicBezTo>
                        <a:cubicBezTo>
                          <a:pt x="45" y="85"/>
                          <a:pt x="45" y="86"/>
                          <a:pt x="45" y="87"/>
                        </a:cubicBezTo>
                        <a:cubicBezTo>
                          <a:pt x="46" y="88"/>
                          <a:pt x="47" y="89"/>
                          <a:pt x="48" y="89"/>
                        </a:cubicBezTo>
                        <a:cubicBezTo>
                          <a:pt x="49" y="89"/>
                          <a:pt x="50" y="88"/>
                          <a:pt x="51" y="87"/>
                        </a:cubicBezTo>
                        <a:cubicBezTo>
                          <a:pt x="51" y="86"/>
                          <a:pt x="51" y="84"/>
                          <a:pt x="51" y="83"/>
                        </a:cubicBezTo>
                        <a:cubicBezTo>
                          <a:pt x="51" y="59"/>
                          <a:pt x="51" y="35"/>
                          <a:pt x="51" y="12"/>
                        </a:cubicBezTo>
                        <a:cubicBezTo>
                          <a:pt x="51" y="4"/>
                          <a:pt x="54" y="0"/>
                          <a:pt x="60" y="0"/>
                        </a:cubicBezTo>
                        <a:cubicBezTo>
                          <a:pt x="66" y="0"/>
                          <a:pt x="70" y="3"/>
                          <a:pt x="71" y="9"/>
                        </a:cubicBezTo>
                        <a:cubicBezTo>
                          <a:pt x="71" y="20"/>
                          <a:pt x="71" y="31"/>
                          <a:pt x="71" y="42"/>
                        </a:cubicBezTo>
                        <a:cubicBezTo>
                          <a:pt x="71" y="56"/>
                          <a:pt x="71" y="70"/>
                          <a:pt x="71" y="84"/>
                        </a:cubicBezTo>
                        <a:cubicBezTo>
                          <a:pt x="71" y="85"/>
                          <a:pt x="71" y="86"/>
                          <a:pt x="71" y="86"/>
                        </a:cubicBezTo>
                        <a:cubicBezTo>
                          <a:pt x="72" y="88"/>
                          <a:pt x="73" y="89"/>
                          <a:pt x="74" y="90"/>
                        </a:cubicBezTo>
                        <a:cubicBezTo>
                          <a:pt x="76" y="90"/>
                          <a:pt x="77" y="88"/>
                          <a:pt x="77" y="86"/>
                        </a:cubicBezTo>
                        <a:cubicBezTo>
                          <a:pt x="77" y="77"/>
                          <a:pt x="77" y="67"/>
                          <a:pt x="77" y="57"/>
                        </a:cubicBezTo>
                        <a:cubicBezTo>
                          <a:pt x="77" y="46"/>
                          <a:pt x="77" y="34"/>
                          <a:pt x="77" y="23"/>
                        </a:cubicBezTo>
                        <a:cubicBezTo>
                          <a:pt x="77" y="17"/>
                          <a:pt x="80" y="13"/>
                          <a:pt x="85" y="13"/>
                        </a:cubicBezTo>
                        <a:cubicBezTo>
                          <a:pt x="92" y="13"/>
                          <a:pt x="96" y="16"/>
                          <a:pt x="96" y="23"/>
                        </a:cubicBezTo>
                        <a:cubicBezTo>
                          <a:pt x="96" y="48"/>
                          <a:pt x="96" y="74"/>
                          <a:pt x="96" y="100"/>
                        </a:cubicBezTo>
                        <a:cubicBezTo>
                          <a:pt x="96" y="102"/>
                          <a:pt x="95" y="106"/>
                          <a:pt x="98" y="107"/>
                        </a:cubicBezTo>
                        <a:cubicBezTo>
                          <a:pt x="102" y="108"/>
                          <a:pt x="103" y="104"/>
                          <a:pt x="104" y="102"/>
                        </a:cubicBezTo>
                        <a:cubicBezTo>
                          <a:pt x="108" y="94"/>
                          <a:pt x="111" y="87"/>
                          <a:pt x="115" y="80"/>
                        </a:cubicBezTo>
                        <a:cubicBezTo>
                          <a:pt x="118" y="75"/>
                          <a:pt x="123" y="73"/>
                          <a:pt x="128" y="74"/>
                        </a:cubicBezTo>
                        <a:cubicBezTo>
                          <a:pt x="134" y="75"/>
                          <a:pt x="138" y="79"/>
                          <a:pt x="138" y="84"/>
                        </a:cubicBezTo>
                        <a:cubicBezTo>
                          <a:pt x="138" y="87"/>
                          <a:pt x="137" y="90"/>
                          <a:pt x="136" y="92"/>
                        </a:cubicBezTo>
                        <a:cubicBezTo>
                          <a:pt x="126" y="115"/>
                          <a:pt x="116" y="138"/>
                          <a:pt x="105" y="161"/>
                        </a:cubicBezTo>
                        <a:cubicBezTo>
                          <a:pt x="99" y="175"/>
                          <a:pt x="87" y="182"/>
                          <a:pt x="71" y="182"/>
                        </a:cubicBezTo>
                        <a:cubicBezTo>
                          <a:pt x="58" y="181"/>
                          <a:pt x="45" y="182"/>
                          <a:pt x="31" y="182"/>
                        </a:cubicBezTo>
                        <a:cubicBezTo>
                          <a:pt x="17" y="182"/>
                          <a:pt x="7" y="175"/>
                          <a:pt x="3" y="162"/>
                        </a:cubicBezTo>
                        <a:cubicBezTo>
                          <a:pt x="1" y="157"/>
                          <a:pt x="0" y="150"/>
                          <a:pt x="0" y="144"/>
                        </a:cubicBezTo>
                        <a:cubicBezTo>
                          <a:pt x="0" y="129"/>
                          <a:pt x="0" y="113"/>
                          <a:pt x="0" y="98"/>
                        </a:cubicBezTo>
                        <a:cubicBezTo>
                          <a:pt x="0" y="98"/>
                          <a:pt x="0" y="98"/>
                          <a:pt x="0" y="98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</p:grpSp>
          </p:grpSp>
          <p:grpSp>
            <p:nvGrpSpPr>
              <p:cNvPr id="16" name="Grupo 15"/>
              <p:cNvGrpSpPr/>
              <p:nvPr/>
            </p:nvGrpSpPr>
            <p:grpSpPr>
              <a:xfrm>
                <a:off x="6573810" y="3049151"/>
                <a:ext cx="3378200" cy="1119698"/>
                <a:chOff x="7821726" y="3036396"/>
                <a:chExt cx="3378200" cy="1119698"/>
              </a:xfrm>
            </p:grpSpPr>
            <p:sp>
              <p:nvSpPr>
                <p:cNvPr id="163" name="CuadroTexto 162"/>
                <p:cNvSpPr txBox="1"/>
                <p:nvPr/>
              </p:nvSpPr>
              <p:spPr>
                <a:xfrm>
                  <a:off x="7821726" y="3191163"/>
                  <a:ext cx="3378200" cy="67710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182562" lvl="1">
                    <a:buClr>
                      <a:srgbClr val="FF0000"/>
                    </a:buClr>
                  </a:pPr>
                  <a:r>
                    <a:rPr lang="es-ES" altLang="es-ES" sz="1400" b="1" dirty="0">
                      <a:solidFill>
                        <a:srgbClr val="44546A"/>
                      </a:solidFill>
                      <a:latin typeface="Segoe UI" panose="020B0502040204020203" pitchFamily="34" charset="0"/>
                      <a:ea typeface="Segoe UI" panose="020B0502040204020203" pitchFamily="34" charset="0"/>
                      <a:cs typeface="Segoe UI" panose="020B0502040204020203" pitchFamily="34" charset="0"/>
                    </a:rPr>
                    <a:t>Colaboración: </a:t>
                  </a:r>
                  <a:r>
                    <a:rPr lang="es-ES" altLang="es-ES" sz="1200" dirty="0">
                      <a:solidFill>
                        <a:srgbClr val="44546A"/>
                      </a:solidFill>
                      <a:latin typeface="Segoe UI" panose="020B0502040204020203" pitchFamily="34" charset="0"/>
                      <a:ea typeface="Segoe UI" panose="020B0502040204020203" pitchFamily="34" charset="0"/>
                      <a:cs typeface="Segoe UI" panose="020B0502040204020203" pitchFamily="34" charset="0"/>
                    </a:rPr>
                    <a:t>Compartición de ideas y problemas, como base para la creación de una cultura </a:t>
                  </a:r>
                  <a:r>
                    <a:rPr lang="es-ES" altLang="es-ES" sz="1200" dirty="0" smtClean="0">
                      <a:solidFill>
                        <a:srgbClr val="44546A"/>
                      </a:solidFill>
                      <a:latin typeface="Segoe UI" panose="020B0502040204020203" pitchFamily="34" charset="0"/>
                      <a:ea typeface="Segoe UI" panose="020B0502040204020203" pitchFamily="34" charset="0"/>
                      <a:cs typeface="Segoe UI" panose="020B0502040204020203" pitchFamily="34" charset="0"/>
                    </a:rPr>
                    <a:t>colaborativa.</a:t>
                  </a:r>
                  <a:endParaRPr lang="es-ES" altLang="es-ES" sz="1200" dirty="0">
                    <a:solidFill>
                      <a:srgbClr val="4454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2" name="Rounded Rectangle 8"/>
                <p:cNvSpPr/>
                <p:nvPr/>
              </p:nvSpPr>
              <p:spPr>
                <a:xfrm flipH="1">
                  <a:off x="7859825" y="3036396"/>
                  <a:ext cx="3340100" cy="1119698"/>
                </a:xfrm>
                <a:prstGeom prst="roundRect">
                  <a:avLst/>
                </a:prstGeom>
                <a:noFill/>
                <a:ln w="19050">
                  <a:solidFill>
                    <a:srgbClr val="79B84F"/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PE" sz="2968"/>
                </a:p>
              </p:txBody>
            </p:sp>
          </p:grpSp>
        </p:grpSp>
        <p:grpSp>
          <p:nvGrpSpPr>
            <p:cNvPr id="14" name="Grupo 13"/>
            <p:cNvGrpSpPr/>
            <p:nvPr/>
          </p:nvGrpSpPr>
          <p:grpSpPr>
            <a:xfrm>
              <a:off x="6257783" y="4127443"/>
              <a:ext cx="4612387" cy="1125936"/>
              <a:chOff x="6323113" y="5491835"/>
              <a:chExt cx="4612387" cy="1125936"/>
            </a:xfrm>
          </p:grpSpPr>
          <p:sp>
            <p:nvSpPr>
              <p:cNvPr id="171" name="Rectángulo redondeado 170"/>
              <p:cNvSpPr/>
              <p:nvPr/>
            </p:nvSpPr>
            <p:spPr>
              <a:xfrm>
                <a:off x="6323113" y="5492341"/>
                <a:ext cx="1182587" cy="1125430"/>
              </a:xfrm>
              <a:prstGeom prst="roundRect">
                <a:avLst/>
              </a:prstGeom>
              <a:solidFill>
                <a:srgbClr val="FC8637"/>
              </a:solidFill>
              <a:ln>
                <a:solidFill>
                  <a:srgbClr val="FC863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2" name="CuadroTexto 171"/>
              <p:cNvSpPr txBox="1"/>
              <p:nvPr/>
            </p:nvSpPr>
            <p:spPr>
              <a:xfrm>
                <a:off x="7555609" y="5604946"/>
                <a:ext cx="3226691" cy="86177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82562" lvl="1">
                  <a:buClr>
                    <a:srgbClr val="FF0000"/>
                  </a:buClr>
                </a:pPr>
                <a:r>
                  <a:rPr lang="es-ES" altLang="es-ES" sz="1400" b="1" dirty="0">
                    <a:solidFill>
                      <a:srgbClr val="4454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Automatización: </a:t>
                </a:r>
                <a:r>
                  <a:rPr lang="es-ES" altLang="es-ES" sz="1200" dirty="0">
                    <a:solidFill>
                      <a:srgbClr val="4454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Una vez establecida la cultura DevOps, hay que establecer una serie de herramientas relacionadas entre sí que automaticen el ciclo de DevOps.</a:t>
                </a:r>
              </a:p>
            </p:txBody>
          </p:sp>
          <p:pic>
            <p:nvPicPr>
              <p:cNvPr id="191" name="Imagen 22">
                <a:extLst>
                  <a:ext uri="{FF2B5EF4-FFF2-40B4-BE49-F238E27FC236}">
                    <a16:creationId xmlns:a16="http://schemas.microsoft.com/office/drawing/2014/main" xmlns="" id="{74587497-F314-264F-95D4-C755C0356F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634316" y="5757645"/>
                <a:ext cx="635000" cy="635000"/>
              </a:xfrm>
              <a:prstGeom prst="rect">
                <a:avLst/>
              </a:prstGeom>
              <a:solidFill>
                <a:schemeClr val="bg1"/>
              </a:solidFill>
            </p:spPr>
          </p:pic>
          <p:sp>
            <p:nvSpPr>
              <p:cNvPr id="53" name="Rounded Rectangle 8"/>
              <p:cNvSpPr/>
              <p:nvPr/>
            </p:nvSpPr>
            <p:spPr>
              <a:xfrm flipH="1">
                <a:off x="7595400" y="5491835"/>
                <a:ext cx="3340100" cy="1119698"/>
              </a:xfrm>
              <a:prstGeom prst="roundRect">
                <a:avLst/>
              </a:prstGeom>
              <a:noFill/>
              <a:ln w="19050">
                <a:solidFill>
                  <a:srgbClr val="FC8637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 sz="2968"/>
              </a:p>
            </p:txBody>
          </p:sp>
        </p:grpSp>
      </p:grpSp>
      <p:grpSp>
        <p:nvGrpSpPr>
          <p:cNvPr id="27" name="Grupo 26"/>
          <p:cNvGrpSpPr/>
          <p:nvPr/>
        </p:nvGrpSpPr>
        <p:grpSpPr>
          <a:xfrm>
            <a:off x="6247310" y="5418996"/>
            <a:ext cx="4651494" cy="1126405"/>
            <a:chOff x="1078410" y="5418996"/>
            <a:chExt cx="4651494" cy="1126405"/>
          </a:xfrm>
        </p:grpSpPr>
        <p:grpSp>
          <p:nvGrpSpPr>
            <p:cNvPr id="25" name="Grupo 24"/>
            <p:cNvGrpSpPr/>
            <p:nvPr/>
          </p:nvGrpSpPr>
          <p:grpSpPr>
            <a:xfrm>
              <a:off x="4547319" y="5418996"/>
              <a:ext cx="1182585" cy="1126405"/>
              <a:chOff x="1080219" y="5418996"/>
              <a:chExt cx="1182585" cy="1126405"/>
            </a:xfrm>
          </p:grpSpPr>
          <p:sp>
            <p:nvSpPr>
              <p:cNvPr id="2" name="Rectángulo redondeado 1"/>
              <p:cNvSpPr/>
              <p:nvPr/>
            </p:nvSpPr>
            <p:spPr>
              <a:xfrm>
                <a:off x="1080219" y="5418996"/>
                <a:ext cx="1182585" cy="1126405"/>
              </a:xfrm>
              <a:prstGeom prst="roundRect">
                <a:avLst/>
              </a:prstGeom>
              <a:solidFill>
                <a:srgbClr val="357FC2"/>
              </a:solidFill>
              <a:ln>
                <a:solidFill>
                  <a:srgbClr val="357FC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5" name="Grupo 4"/>
              <p:cNvGrpSpPr/>
              <p:nvPr/>
            </p:nvGrpSpPr>
            <p:grpSpPr>
              <a:xfrm>
                <a:off x="1282885" y="5599265"/>
                <a:ext cx="779988" cy="776317"/>
                <a:chOff x="1011425" y="2841577"/>
                <a:chExt cx="779988" cy="776317"/>
              </a:xfrm>
            </p:grpSpPr>
            <p:sp>
              <p:nvSpPr>
                <p:cNvPr id="71" name="Freeform 1354"/>
                <p:cNvSpPr>
                  <a:spLocks/>
                </p:cNvSpPr>
                <p:nvPr/>
              </p:nvSpPr>
              <p:spPr bwMode="gray">
                <a:xfrm>
                  <a:off x="1037542" y="3145175"/>
                  <a:ext cx="496356" cy="472719"/>
                </a:xfrm>
                <a:custGeom>
                  <a:avLst/>
                  <a:gdLst>
                    <a:gd name="T0" fmla="*/ 176 w 176"/>
                    <a:gd name="T1" fmla="*/ 84 h 168"/>
                    <a:gd name="T2" fmla="*/ 176 w 176"/>
                    <a:gd name="T3" fmla="*/ 114 h 168"/>
                    <a:gd name="T4" fmla="*/ 157 w 176"/>
                    <a:gd name="T5" fmla="*/ 144 h 168"/>
                    <a:gd name="T6" fmla="*/ 137 w 176"/>
                    <a:gd name="T7" fmla="*/ 166 h 168"/>
                    <a:gd name="T8" fmla="*/ 132 w 176"/>
                    <a:gd name="T9" fmla="*/ 168 h 168"/>
                    <a:gd name="T10" fmla="*/ 35 w 176"/>
                    <a:gd name="T11" fmla="*/ 126 h 168"/>
                    <a:gd name="T12" fmla="*/ 1 w 176"/>
                    <a:gd name="T13" fmla="*/ 59 h 168"/>
                    <a:gd name="T14" fmla="*/ 1 w 176"/>
                    <a:gd name="T15" fmla="*/ 54 h 168"/>
                    <a:gd name="T16" fmla="*/ 44 w 176"/>
                    <a:gd name="T17" fmla="*/ 5 h 168"/>
                    <a:gd name="T18" fmla="*/ 48 w 176"/>
                    <a:gd name="T19" fmla="*/ 5 h 168"/>
                    <a:gd name="T20" fmla="*/ 71 w 176"/>
                    <a:gd name="T21" fmla="*/ 2 h 168"/>
                    <a:gd name="T22" fmla="*/ 75 w 176"/>
                    <a:gd name="T23" fmla="*/ 1 h 168"/>
                    <a:gd name="T24" fmla="*/ 176 w 176"/>
                    <a:gd name="T25" fmla="*/ 84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76" h="168">
                      <a:moveTo>
                        <a:pt x="176" y="84"/>
                      </a:moveTo>
                      <a:cubicBezTo>
                        <a:pt x="168" y="93"/>
                        <a:pt x="168" y="105"/>
                        <a:pt x="176" y="114"/>
                      </a:cubicBezTo>
                      <a:cubicBezTo>
                        <a:pt x="171" y="125"/>
                        <a:pt x="165" y="135"/>
                        <a:pt x="157" y="144"/>
                      </a:cubicBezTo>
                      <a:cubicBezTo>
                        <a:pt x="151" y="152"/>
                        <a:pt x="144" y="159"/>
                        <a:pt x="137" y="166"/>
                      </a:cubicBezTo>
                      <a:cubicBezTo>
                        <a:pt x="136" y="167"/>
                        <a:pt x="134" y="168"/>
                        <a:pt x="132" y="168"/>
                      </a:cubicBezTo>
                      <a:cubicBezTo>
                        <a:pt x="94" y="167"/>
                        <a:pt x="62" y="153"/>
                        <a:pt x="35" y="126"/>
                      </a:cubicBezTo>
                      <a:cubicBezTo>
                        <a:pt x="17" y="107"/>
                        <a:pt x="6" y="85"/>
                        <a:pt x="1" y="59"/>
                      </a:cubicBezTo>
                      <a:cubicBezTo>
                        <a:pt x="0" y="58"/>
                        <a:pt x="1" y="55"/>
                        <a:pt x="1" y="54"/>
                      </a:cubicBezTo>
                      <a:cubicBezTo>
                        <a:pt x="13" y="35"/>
                        <a:pt x="27" y="19"/>
                        <a:pt x="44" y="5"/>
                      </a:cubicBezTo>
                      <a:cubicBezTo>
                        <a:pt x="46" y="4"/>
                        <a:pt x="47" y="4"/>
                        <a:pt x="48" y="5"/>
                      </a:cubicBezTo>
                      <a:cubicBezTo>
                        <a:pt x="56" y="9"/>
                        <a:pt x="64" y="8"/>
                        <a:pt x="71" y="2"/>
                      </a:cubicBezTo>
                      <a:cubicBezTo>
                        <a:pt x="72" y="1"/>
                        <a:pt x="73" y="0"/>
                        <a:pt x="75" y="1"/>
                      </a:cubicBezTo>
                      <a:cubicBezTo>
                        <a:pt x="118" y="16"/>
                        <a:pt x="153" y="45"/>
                        <a:pt x="176" y="8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2" name="Freeform 1355"/>
                <p:cNvSpPr>
                  <a:spLocks/>
                </p:cNvSpPr>
                <p:nvPr/>
              </p:nvSpPr>
              <p:spPr bwMode="gray">
                <a:xfrm>
                  <a:off x="1594446" y="3054301"/>
                  <a:ext cx="196967" cy="488477"/>
                </a:xfrm>
                <a:custGeom>
                  <a:avLst/>
                  <a:gdLst>
                    <a:gd name="T0" fmla="*/ 9 w 70"/>
                    <a:gd name="T1" fmla="*/ 174 h 174"/>
                    <a:gd name="T2" fmla="*/ 1 w 70"/>
                    <a:gd name="T3" fmla="*/ 145 h 174"/>
                    <a:gd name="T4" fmla="*/ 1 w 70"/>
                    <a:gd name="T5" fmla="*/ 142 h 174"/>
                    <a:gd name="T6" fmla="*/ 1 w 70"/>
                    <a:gd name="T7" fmla="*/ 114 h 174"/>
                    <a:gd name="T8" fmla="*/ 0 w 70"/>
                    <a:gd name="T9" fmla="*/ 110 h 174"/>
                    <a:gd name="T10" fmla="*/ 6 w 70"/>
                    <a:gd name="T11" fmla="*/ 72 h 174"/>
                    <a:gd name="T12" fmla="*/ 0 w 70"/>
                    <a:gd name="T13" fmla="*/ 8 h 174"/>
                    <a:gd name="T14" fmla="*/ 6 w 70"/>
                    <a:gd name="T15" fmla="*/ 1 h 174"/>
                    <a:gd name="T16" fmla="*/ 9 w 70"/>
                    <a:gd name="T17" fmla="*/ 1 h 174"/>
                    <a:gd name="T18" fmla="*/ 61 w 70"/>
                    <a:gd name="T19" fmla="*/ 24 h 174"/>
                    <a:gd name="T20" fmla="*/ 63 w 70"/>
                    <a:gd name="T21" fmla="*/ 26 h 174"/>
                    <a:gd name="T22" fmla="*/ 58 w 70"/>
                    <a:gd name="T23" fmla="*/ 110 h 174"/>
                    <a:gd name="T24" fmla="*/ 11 w 70"/>
                    <a:gd name="T25" fmla="*/ 172 h 174"/>
                    <a:gd name="T26" fmla="*/ 9 w 70"/>
                    <a:gd name="T27" fmla="*/ 174 h 1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70" h="174">
                      <a:moveTo>
                        <a:pt x="9" y="174"/>
                      </a:moveTo>
                      <a:cubicBezTo>
                        <a:pt x="6" y="164"/>
                        <a:pt x="3" y="154"/>
                        <a:pt x="1" y="145"/>
                      </a:cubicBezTo>
                      <a:cubicBezTo>
                        <a:pt x="0" y="144"/>
                        <a:pt x="1" y="143"/>
                        <a:pt x="1" y="142"/>
                      </a:cubicBezTo>
                      <a:cubicBezTo>
                        <a:pt x="9" y="132"/>
                        <a:pt x="9" y="122"/>
                        <a:pt x="1" y="114"/>
                      </a:cubicBezTo>
                      <a:cubicBezTo>
                        <a:pt x="0" y="113"/>
                        <a:pt x="0" y="111"/>
                        <a:pt x="0" y="110"/>
                      </a:cubicBezTo>
                      <a:cubicBezTo>
                        <a:pt x="2" y="97"/>
                        <a:pt x="5" y="84"/>
                        <a:pt x="6" y="72"/>
                      </a:cubicBezTo>
                      <a:cubicBezTo>
                        <a:pt x="8" y="50"/>
                        <a:pt x="5" y="29"/>
                        <a:pt x="0" y="8"/>
                      </a:cubicBezTo>
                      <a:cubicBezTo>
                        <a:pt x="2" y="5"/>
                        <a:pt x="4" y="3"/>
                        <a:pt x="6" y="1"/>
                      </a:cubicBezTo>
                      <a:cubicBezTo>
                        <a:pt x="7" y="1"/>
                        <a:pt x="8" y="0"/>
                        <a:pt x="9" y="1"/>
                      </a:cubicBezTo>
                      <a:cubicBezTo>
                        <a:pt x="27" y="6"/>
                        <a:pt x="45" y="13"/>
                        <a:pt x="61" y="24"/>
                      </a:cubicBezTo>
                      <a:cubicBezTo>
                        <a:pt x="62" y="24"/>
                        <a:pt x="62" y="25"/>
                        <a:pt x="63" y="26"/>
                      </a:cubicBezTo>
                      <a:cubicBezTo>
                        <a:pt x="70" y="55"/>
                        <a:pt x="69" y="83"/>
                        <a:pt x="58" y="110"/>
                      </a:cubicBezTo>
                      <a:cubicBezTo>
                        <a:pt x="49" y="135"/>
                        <a:pt x="33" y="156"/>
                        <a:pt x="11" y="172"/>
                      </a:cubicBezTo>
                      <a:cubicBezTo>
                        <a:pt x="10" y="172"/>
                        <a:pt x="9" y="173"/>
                        <a:pt x="9" y="17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3" name="Freeform 1356"/>
                <p:cNvSpPr>
                  <a:spLocks/>
                </p:cNvSpPr>
                <p:nvPr/>
              </p:nvSpPr>
              <p:spPr bwMode="gray">
                <a:xfrm>
                  <a:off x="1046880" y="2841577"/>
                  <a:ext cx="472720" cy="236360"/>
                </a:xfrm>
                <a:custGeom>
                  <a:avLst/>
                  <a:gdLst>
                    <a:gd name="T0" fmla="*/ 0 w 168"/>
                    <a:gd name="T1" fmla="*/ 82 h 84"/>
                    <a:gd name="T2" fmla="*/ 10 w 168"/>
                    <a:gd name="T3" fmla="*/ 63 h 84"/>
                    <a:gd name="T4" fmla="*/ 101 w 168"/>
                    <a:gd name="T5" fmla="*/ 2 h 84"/>
                    <a:gd name="T6" fmla="*/ 131 w 168"/>
                    <a:gd name="T7" fmla="*/ 0 h 84"/>
                    <a:gd name="T8" fmla="*/ 135 w 168"/>
                    <a:gd name="T9" fmla="*/ 1 h 84"/>
                    <a:gd name="T10" fmla="*/ 167 w 168"/>
                    <a:gd name="T11" fmla="*/ 46 h 84"/>
                    <a:gd name="T12" fmla="*/ 166 w 168"/>
                    <a:gd name="T13" fmla="*/ 51 h 84"/>
                    <a:gd name="T14" fmla="*/ 166 w 168"/>
                    <a:gd name="T15" fmla="*/ 51 h 84"/>
                    <a:gd name="T16" fmla="*/ 154 w 168"/>
                    <a:gd name="T17" fmla="*/ 56 h 84"/>
                    <a:gd name="T18" fmla="*/ 67 w 168"/>
                    <a:gd name="T19" fmla="*/ 75 h 84"/>
                    <a:gd name="T20" fmla="*/ 59 w 168"/>
                    <a:gd name="T21" fmla="*/ 75 h 84"/>
                    <a:gd name="T22" fmla="*/ 33 w 168"/>
                    <a:gd name="T23" fmla="*/ 81 h 84"/>
                    <a:gd name="T24" fmla="*/ 27 w 168"/>
                    <a:gd name="T25" fmla="*/ 83 h 84"/>
                    <a:gd name="T26" fmla="*/ 0 w 168"/>
                    <a:gd name="T27" fmla="*/ 82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8" h="84">
                      <a:moveTo>
                        <a:pt x="0" y="82"/>
                      </a:moveTo>
                      <a:cubicBezTo>
                        <a:pt x="3" y="75"/>
                        <a:pt x="6" y="69"/>
                        <a:pt x="10" y="63"/>
                      </a:cubicBezTo>
                      <a:cubicBezTo>
                        <a:pt x="32" y="30"/>
                        <a:pt x="62" y="9"/>
                        <a:pt x="101" y="2"/>
                      </a:cubicBezTo>
                      <a:cubicBezTo>
                        <a:pt x="111" y="0"/>
                        <a:pt x="121" y="0"/>
                        <a:pt x="131" y="0"/>
                      </a:cubicBezTo>
                      <a:cubicBezTo>
                        <a:pt x="132" y="0"/>
                        <a:pt x="134" y="1"/>
                        <a:pt x="135" y="1"/>
                      </a:cubicBezTo>
                      <a:cubicBezTo>
                        <a:pt x="147" y="15"/>
                        <a:pt x="158" y="30"/>
                        <a:pt x="167" y="46"/>
                      </a:cubicBezTo>
                      <a:cubicBezTo>
                        <a:pt x="168" y="48"/>
                        <a:pt x="168" y="49"/>
                        <a:pt x="166" y="51"/>
                      </a:cubicBezTo>
                      <a:cubicBezTo>
                        <a:pt x="166" y="51"/>
                        <a:pt x="166" y="51"/>
                        <a:pt x="166" y="51"/>
                      </a:cubicBezTo>
                      <a:cubicBezTo>
                        <a:pt x="163" y="56"/>
                        <a:pt x="159" y="56"/>
                        <a:pt x="154" y="56"/>
                      </a:cubicBezTo>
                      <a:cubicBezTo>
                        <a:pt x="124" y="55"/>
                        <a:pt x="95" y="62"/>
                        <a:pt x="67" y="75"/>
                      </a:cubicBezTo>
                      <a:cubicBezTo>
                        <a:pt x="64" y="76"/>
                        <a:pt x="62" y="77"/>
                        <a:pt x="59" y="75"/>
                      </a:cubicBezTo>
                      <a:cubicBezTo>
                        <a:pt x="51" y="69"/>
                        <a:pt x="38" y="72"/>
                        <a:pt x="33" y="81"/>
                      </a:cubicBezTo>
                      <a:cubicBezTo>
                        <a:pt x="31" y="83"/>
                        <a:pt x="30" y="84"/>
                        <a:pt x="27" y="83"/>
                      </a:cubicBezTo>
                      <a:cubicBezTo>
                        <a:pt x="19" y="83"/>
                        <a:pt x="10" y="82"/>
                        <a:pt x="0" y="8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4" name="Freeform 1357"/>
                <p:cNvSpPr>
                  <a:spLocks/>
                </p:cNvSpPr>
                <p:nvPr/>
              </p:nvSpPr>
              <p:spPr bwMode="gray">
                <a:xfrm>
                  <a:off x="1239906" y="3034603"/>
                  <a:ext cx="334845" cy="323025"/>
                </a:xfrm>
                <a:custGeom>
                  <a:avLst/>
                  <a:gdLst>
                    <a:gd name="T0" fmla="*/ 119 w 119"/>
                    <a:gd name="T1" fmla="*/ 65 h 115"/>
                    <a:gd name="T2" fmla="*/ 113 w 119"/>
                    <a:gd name="T3" fmla="*/ 113 h 115"/>
                    <a:gd name="T4" fmla="*/ 111 w 119"/>
                    <a:gd name="T5" fmla="*/ 115 h 115"/>
                    <a:gd name="T6" fmla="*/ 109 w 119"/>
                    <a:gd name="T7" fmla="*/ 113 h 115"/>
                    <a:gd name="T8" fmla="*/ 58 w 119"/>
                    <a:gd name="T9" fmla="*/ 56 h 115"/>
                    <a:gd name="T10" fmla="*/ 3 w 119"/>
                    <a:gd name="T11" fmla="*/ 26 h 115"/>
                    <a:gd name="T12" fmla="*/ 0 w 119"/>
                    <a:gd name="T13" fmla="*/ 23 h 115"/>
                    <a:gd name="T14" fmla="*/ 3 w 119"/>
                    <a:gd name="T15" fmla="*/ 19 h 115"/>
                    <a:gd name="T16" fmla="*/ 91 w 119"/>
                    <a:gd name="T17" fmla="*/ 1 h 115"/>
                    <a:gd name="T18" fmla="*/ 94 w 119"/>
                    <a:gd name="T19" fmla="*/ 3 h 115"/>
                    <a:gd name="T20" fmla="*/ 110 w 119"/>
                    <a:gd name="T21" fmla="*/ 16 h 115"/>
                    <a:gd name="T22" fmla="*/ 113 w 119"/>
                    <a:gd name="T23" fmla="*/ 19 h 115"/>
                    <a:gd name="T24" fmla="*/ 119 w 119"/>
                    <a:gd name="T25" fmla="*/ 65 h 1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9" h="115">
                      <a:moveTo>
                        <a:pt x="119" y="65"/>
                      </a:moveTo>
                      <a:cubicBezTo>
                        <a:pt x="119" y="81"/>
                        <a:pt x="117" y="97"/>
                        <a:pt x="113" y="113"/>
                      </a:cubicBezTo>
                      <a:cubicBezTo>
                        <a:pt x="113" y="114"/>
                        <a:pt x="112" y="114"/>
                        <a:pt x="111" y="115"/>
                      </a:cubicBezTo>
                      <a:cubicBezTo>
                        <a:pt x="110" y="115"/>
                        <a:pt x="109" y="114"/>
                        <a:pt x="109" y="113"/>
                      </a:cubicBezTo>
                      <a:cubicBezTo>
                        <a:pt x="95" y="91"/>
                        <a:pt x="79" y="72"/>
                        <a:pt x="58" y="56"/>
                      </a:cubicBezTo>
                      <a:cubicBezTo>
                        <a:pt x="41" y="43"/>
                        <a:pt x="23" y="33"/>
                        <a:pt x="3" y="26"/>
                      </a:cubicBezTo>
                      <a:cubicBezTo>
                        <a:pt x="2" y="25"/>
                        <a:pt x="0" y="25"/>
                        <a:pt x="0" y="23"/>
                      </a:cubicBezTo>
                      <a:cubicBezTo>
                        <a:pt x="0" y="20"/>
                        <a:pt x="1" y="20"/>
                        <a:pt x="3" y="19"/>
                      </a:cubicBezTo>
                      <a:cubicBezTo>
                        <a:pt x="31" y="6"/>
                        <a:pt x="60" y="0"/>
                        <a:pt x="91" y="1"/>
                      </a:cubicBezTo>
                      <a:cubicBezTo>
                        <a:pt x="92" y="1"/>
                        <a:pt x="93" y="1"/>
                        <a:pt x="94" y="3"/>
                      </a:cubicBezTo>
                      <a:cubicBezTo>
                        <a:pt x="97" y="10"/>
                        <a:pt x="103" y="14"/>
                        <a:pt x="110" y="16"/>
                      </a:cubicBezTo>
                      <a:cubicBezTo>
                        <a:pt x="112" y="16"/>
                        <a:pt x="113" y="17"/>
                        <a:pt x="113" y="19"/>
                      </a:cubicBezTo>
                      <a:cubicBezTo>
                        <a:pt x="117" y="34"/>
                        <a:pt x="119" y="50"/>
                        <a:pt x="119" y="6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5" name="Freeform 1360"/>
                <p:cNvSpPr>
                  <a:spLocks/>
                </p:cNvSpPr>
                <p:nvPr/>
              </p:nvSpPr>
              <p:spPr bwMode="gray">
                <a:xfrm>
                  <a:off x="1011425" y="3109451"/>
                  <a:ext cx="118180" cy="126058"/>
                </a:xfrm>
                <a:custGeom>
                  <a:avLst/>
                  <a:gdLst>
                    <a:gd name="T0" fmla="*/ 0 w 42"/>
                    <a:gd name="T1" fmla="*/ 44 h 44"/>
                    <a:gd name="T2" fmla="*/ 3 w 42"/>
                    <a:gd name="T3" fmla="*/ 20 h 44"/>
                    <a:gd name="T4" fmla="*/ 6 w 42"/>
                    <a:gd name="T5" fmla="*/ 3 h 44"/>
                    <a:gd name="T6" fmla="*/ 8 w 42"/>
                    <a:gd name="T7" fmla="*/ 1 h 44"/>
                    <a:gd name="T8" fmla="*/ 40 w 42"/>
                    <a:gd name="T9" fmla="*/ 2 h 44"/>
                    <a:gd name="T10" fmla="*/ 42 w 42"/>
                    <a:gd name="T11" fmla="*/ 3 h 44"/>
                    <a:gd name="T12" fmla="*/ 2 w 42"/>
                    <a:gd name="T13" fmla="*/ 44 h 44"/>
                    <a:gd name="T14" fmla="*/ 0 w 42"/>
                    <a:gd name="T15" fmla="*/ 44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2" h="44">
                      <a:moveTo>
                        <a:pt x="0" y="44"/>
                      </a:moveTo>
                      <a:cubicBezTo>
                        <a:pt x="1" y="36"/>
                        <a:pt x="1" y="28"/>
                        <a:pt x="3" y="20"/>
                      </a:cubicBezTo>
                      <a:cubicBezTo>
                        <a:pt x="3" y="14"/>
                        <a:pt x="5" y="8"/>
                        <a:pt x="6" y="3"/>
                      </a:cubicBezTo>
                      <a:cubicBezTo>
                        <a:pt x="7" y="2"/>
                        <a:pt x="8" y="0"/>
                        <a:pt x="8" y="1"/>
                      </a:cubicBezTo>
                      <a:cubicBezTo>
                        <a:pt x="19" y="1"/>
                        <a:pt x="30" y="1"/>
                        <a:pt x="40" y="2"/>
                      </a:cubicBezTo>
                      <a:cubicBezTo>
                        <a:pt x="41" y="2"/>
                        <a:pt x="41" y="2"/>
                        <a:pt x="42" y="3"/>
                      </a:cubicBezTo>
                      <a:cubicBezTo>
                        <a:pt x="26" y="15"/>
                        <a:pt x="13" y="29"/>
                        <a:pt x="2" y="44"/>
                      </a:cubicBezTo>
                      <a:cubicBezTo>
                        <a:pt x="1" y="44"/>
                        <a:pt x="1" y="44"/>
                        <a:pt x="0" y="4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6" name="Freeform 1358"/>
                <p:cNvSpPr>
                  <a:spLocks/>
                </p:cNvSpPr>
                <p:nvPr/>
              </p:nvSpPr>
              <p:spPr bwMode="gray">
                <a:xfrm>
                  <a:off x="1499652" y="2852773"/>
                  <a:ext cx="263937" cy="212724"/>
                </a:xfrm>
                <a:custGeom>
                  <a:avLst/>
                  <a:gdLst>
                    <a:gd name="T0" fmla="*/ 0 w 95"/>
                    <a:gd name="T1" fmla="*/ 0 h 76"/>
                    <a:gd name="T2" fmla="*/ 95 w 95"/>
                    <a:gd name="T3" fmla="*/ 76 h 76"/>
                    <a:gd name="T4" fmla="*/ 91 w 95"/>
                    <a:gd name="T5" fmla="*/ 74 h 76"/>
                    <a:gd name="T6" fmla="*/ 52 w 95"/>
                    <a:gd name="T7" fmla="*/ 59 h 76"/>
                    <a:gd name="T8" fmla="*/ 49 w 95"/>
                    <a:gd name="T9" fmla="*/ 57 h 76"/>
                    <a:gd name="T10" fmla="*/ 29 w 95"/>
                    <a:gd name="T11" fmla="*/ 42 h 76"/>
                    <a:gd name="T12" fmla="*/ 26 w 95"/>
                    <a:gd name="T13" fmla="*/ 40 h 76"/>
                    <a:gd name="T14" fmla="*/ 1 w 95"/>
                    <a:gd name="T15" fmla="*/ 1 h 76"/>
                    <a:gd name="T16" fmla="*/ 0 w 95"/>
                    <a:gd name="T17" fmla="*/ 0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5" h="76">
                      <a:moveTo>
                        <a:pt x="0" y="0"/>
                      </a:moveTo>
                      <a:cubicBezTo>
                        <a:pt x="44" y="10"/>
                        <a:pt x="76" y="36"/>
                        <a:pt x="95" y="76"/>
                      </a:cubicBezTo>
                      <a:cubicBezTo>
                        <a:pt x="94" y="76"/>
                        <a:pt x="93" y="75"/>
                        <a:pt x="91" y="74"/>
                      </a:cubicBezTo>
                      <a:cubicBezTo>
                        <a:pt x="79" y="68"/>
                        <a:pt x="66" y="63"/>
                        <a:pt x="52" y="59"/>
                      </a:cubicBezTo>
                      <a:cubicBezTo>
                        <a:pt x="51" y="59"/>
                        <a:pt x="49" y="58"/>
                        <a:pt x="49" y="57"/>
                      </a:cubicBezTo>
                      <a:cubicBezTo>
                        <a:pt x="45" y="48"/>
                        <a:pt x="38" y="44"/>
                        <a:pt x="29" y="42"/>
                      </a:cubicBezTo>
                      <a:cubicBezTo>
                        <a:pt x="28" y="42"/>
                        <a:pt x="27" y="41"/>
                        <a:pt x="26" y="40"/>
                      </a:cubicBezTo>
                      <a:cubicBezTo>
                        <a:pt x="19" y="26"/>
                        <a:pt x="11" y="13"/>
                        <a:pt x="1" y="1"/>
                      </a:cubicBezTo>
                      <a:cubicBezTo>
                        <a:pt x="1" y="1"/>
                        <a:pt x="1" y="1"/>
                        <a:pt x="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26" name="Grupo 25"/>
            <p:cNvGrpSpPr/>
            <p:nvPr/>
          </p:nvGrpSpPr>
          <p:grpSpPr>
            <a:xfrm>
              <a:off x="1078410" y="5424609"/>
              <a:ext cx="3383852" cy="1119698"/>
              <a:chOff x="2348410" y="5424609"/>
              <a:chExt cx="3383852" cy="1119698"/>
            </a:xfrm>
          </p:grpSpPr>
          <p:sp>
            <p:nvSpPr>
              <p:cNvPr id="3" name="CuadroTexto 2"/>
              <p:cNvSpPr txBox="1"/>
              <p:nvPr/>
            </p:nvSpPr>
            <p:spPr>
              <a:xfrm>
                <a:off x="2348410" y="5657878"/>
                <a:ext cx="3205065" cy="6771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82562" lvl="1">
                  <a:buClr>
                    <a:srgbClr val="FF0000"/>
                  </a:buClr>
                </a:pPr>
                <a:r>
                  <a:rPr lang="es-ES" altLang="es-ES" sz="1400" b="1" dirty="0">
                    <a:solidFill>
                      <a:srgbClr val="4454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Cultura: </a:t>
                </a:r>
                <a:r>
                  <a:rPr lang="es-ES" altLang="es-ES" sz="1200" dirty="0">
                    <a:solidFill>
                      <a:srgbClr val="4454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Lo primero son las personas y los procesos. Las herramientas vienen después</a:t>
                </a:r>
              </a:p>
            </p:txBody>
          </p:sp>
          <p:sp>
            <p:nvSpPr>
              <p:cNvPr id="61" name="Rounded Rectangle 8"/>
              <p:cNvSpPr/>
              <p:nvPr/>
            </p:nvSpPr>
            <p:spPr>
              <a:xfrm flipH="1">
                <a:off x="2392162" y="5424609"/>
                <a:ext cx="3340100" cy="1119698"/>
              </a:xfrm>
              <a:prstGeom prst="roundRect">
                <a:avLst/>
              </a:prstGeom>
              <a:noFill/>
              <a:ln w="19050">
                <a:solidFill>
                  <a:srgbClr val="357FC2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 sz="2968"/>
              </a:p>
            </p:txBody>
          </p:sp>
        </p:grpSp>
      </p:grpSp>
      <p:grpSp>
        <p:nvGrpSpPr>
          <p:cNvPr id="11" name="Grupo 10"/>
          <p:cNvGrpSpPr/>
          <p:nvPr/>
        </p:nvGrpSpPr>
        <p:grpSpPr>
          <a:xfrm>
            <a:off x="1075444" y="4127443"/>
            <a:ext cx="4664945" cy="1136542"/>
            <a:chOff x="1234109" y="4214084"/>
            <a:chExt cx="4664945" cy="1136542"/>
          </a:xfrm>
        </p:grpSpPr>
        <p:sp>
          <p:nvSpPr>
            <p:cNvPr id="135" name="Rectángulo redondeado 134"/>
            <p:cNvSpPr/>
            <p:nvPr/>
          </p:nvSpPr>
          <p:spPr>
            <a:xfrm>
              <a:off x="1234109" y="4214084"/>
              <a:ext cx="1182585" cy="1131722"/>
            </a:xfrm>
            <a:prstGeom prst="roundRect">
              <a:avLst/>
            </a:prstGeom>
            <a:solidFill>
              <a:srgbClr val="FC8637"/>
            </a:solidFill>
            <a:ln>
              <a:solidFill>
                <a:srgbClr val="FC863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" name="CuadroTexto 135"/>
            <p:cNvSpPr txBox="1"/>
            <p:nvPr/>
          </p:nvSpPr>
          <p:spPr>
            <a:xfrm>
              <a:off x="2479904" y="4522921"/>
              <a:ext cx="3367731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82562" lvl="1">
                <a:buClr>
                  <a:srgbClr val="FF0000"/>
                </a:buClr>
              </a:pPr>
              <a:r>
                <a:rPr lang="es-ES" altLang="es-ES" sz="1400" b="1" dirty="0">
                  <a:solidFill>
                    <a:srgbClr val="4454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Iterativo: </a:t>
              </a:r>
              <a:r>
                <a:rPr lang="es-ES" altLang="es-ES" sz="1200" dirty="0">
                  <a:solidFill>
                    <a:srgbClr val="4454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Aproximación a la solución final por iteraciones.</a:t>
              </a:r>
            </a:p>
          </p:txBody>
        </p:sp>
        <p:grpSp>
          <p:nvGrpSpPr>
            <p:cNvPr id="6" name="Grupo 5"/>
            <p:cNvGrpSpPr/>
            <p:nvPr/>
          </p:nvGrpSpPr>
          <p:grpSpPr>
            <a:xfrm>
              <a:off x="1402886" y="4410494"/>
              <a:ext cx="839432" cy="745802"/>
              <a:chOff x="973934" y="4331456"/>
              <a:chExt cx="839432" cy="745802"/>
            </a:xfrm>
          </p:grpSpPr>
          <p:sp>
            <p:nvSpPr>
              <p:cNvPr id="181" name="Freeform 1474"/>
              <p:cNvSpPr>
                <a:spLocks/>
              </p:cNvSpPr>
              <p:nvPr/>
            </p:nvSpPr>
            <p:spPr bwMode="gray">
              <a:xfrm>
                <a:off x="973934" y="4331456"/>
                <a:ext cx="839432" cy="745802"/>
              </a:xfrm>
              <a:custGeom>
                <a:avLst/>
                <a:gdLst>
                  <a:gd name="T0" fmla="*/ 0 w 365"/>
                  <a:gd name="T1" fmla="*/ 323 h 323"/>
                  <a:gd name="T2" fmla="*/ 0 w 365"/>
                  <a:gd name="T3" fmla="*/ 0 h 323"/>
                  <a:gd name="T4" fmla="*/ 35 w 365"/>
                  <a:gd name="T5" fmla="*/ 0 h 323"/>
                  <a:gd name="T6" fmla="*/ 35 w 365"/>
                  <a:gd name="T7" fmla="*/ 287 h 323"/>
                  <a:gd name="T8" fmla="*/ 365 w 365"/>
                  <a:gd name="T9" fmla="*/ 287 h 323"/>
                  <a:gd name="T10" fmla="*/ 365 w 365"/>
                  <a:gd name="T11" fmla="*/ 323 h 323"/>
                  <a:gd name="T12" fmla="*/ 0 w 365"/>
                  <a:gd name="T13" fmla="*/ 323 h 3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5" h="323">
                    <a:moveTo>
                      <a:pt x="0" y="323"/>
                    </a:moveTo>
                    <a:cubicBezTo>
                      <a:pt x="0" y="215"/>
                      <a:pt x="0" y="108"/>
                      <a:pt x="0" y="0"/>
                    </a:cubicBezTo>
                    <a:cubicBezTo>
                      <a:pt x="11" y="0"/>
                      <a:pt x="23" y="0"/>
                      <a:pt x="35" y="0"/>
                    </a:cubicBezTo>
                    <a:cubicBezTo>
                      <a:pt x="35" y="96"/>
                      <a:pt x="35" y="191"/>
                      <a:pt x="35" y="287"/>
                    </a:cubicBezTo>
                    <a:cubicBezTo>
                      <a:pt x="145" y="287"/>
                      <a:pt x="255" y="287"/>
                      <a:pt x="365" y="287"/>
                    </a:cubicBezTo>
                    <a:cubicBezTo>
                      <a:pt x="365" y="299"/>
                      <a:pt x="365" y="311"/>
                      <a:pt x="365" y="323"/>
                    </a:cubicBezTo>
                    <a:cubicBezTo>
                      <a:pt x="244" y="323"/>
                      <a:pt x="122" y="323"/>
                      <a:pt x="0" y="3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2" name="Freeform 1475"/>
              <p:cNvSpPr>
                <a:spLocks/>
              </p:cNvSpPr>
              <p:nvPr/>
            </p:nvSpPr>
            <p:spPr bwMode="gray">
              <a:xfrm>
                <a:off x="1141820" y="4434771"/>
                <a:ext cx="629575" cy="474601"/>
              </a:xfrm>
              <a:custGeom>
                <a:avLst/>
                <a:gdLst>
                  <a:gd name="T0" fmla="*/ 95 w 274"/>
                  <a:gd name="T1" fmla="*/ 140 h 206"/>
                  <a:gd name="T2" fmla="*/ 30 w 274"/>
                  <a:gd name="T3" fmla="*/ 206 h 206"/>
                  <a:gd name="T4" fmla="*/ 0 w 274"/>
                  <a:gd name="T5" fmla="*/ 176 h 206"/>
                  <a:gd name="T6" fmla="*/ 95 w 274"/>
                  <a:gd name="T7" fmla="*/ 81 h 206"/>
                  <a:gd name="T8" fmla="*/ 131 w 274"/>
                  <a:gd name="T9" fmla="*/ 114 h 206"/>
                  <a:gd name="T10" fmla="*/ 208 w 274"/>
                  <a:gd name="T11" fmla="*/ 34 h 206"/>
                  <a:gd name="T12" fmla="*/ 189 w 274"/>
                  <a:gd name="T13" fmla="*/ 16 h 206"/>
                  <a:gd name="T14" fmla="*/ 274 w 274"/>
                  <a:gd name="T15" fmla="*/ 0 h 206"/>
                  <a:gd name="T16" fmla="*/ 259 w 274"/>
                  <a:gd name="T17" fmla="*/ 84 h 206"/>
                  <a:gd name="T18" fmla="*/ 241 w 274"/>
                  <a:gd name="T19" fmla="*/ 65 h 206"/>
                  <a:gd name="T20" fmla="*/ 131 w 274"/>
                  <a:gd name="T21" fmla="*/ 174 h 206"/>
                  <a:gd name="T22" fmla="*/ 95 w 274"/>
                  <a:gd name="T23" fmla="*/ 140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74" h="206">
                    <a:moveTo>
                      <a:pt x="95" y="140"/>
                    </a:moveTo>
                    <a:cubicBezTo>
                      <a:pt x="73" y="162"/>
                      <a:pt x="51" y="184"/>
                      <a:pt x="30" y="206"/>
                    </a:cubicBezTo>
                    <a:cubicBezTo>
                      <a:pt x="20" y="196"/>
                      <a:pt x="10" y="186"/>
                      <a:pt x="0" y="176"/>
                    </a:cubicBezTo>
                    <a:cubicBezTo>
                      <a:pt x="31" y="145"/>
                      <a:pt x="63" y="113"/>
                      <a:pt x="95" y="81"/>
                    </a:cubicBezTo>
                    <a:cubicBezTo>
                      <a:pt x="107" y="92"/>
                      <a:pt x="118" y="103"/>
                      <a:pt x="131" y="114"/>
                    </a:cubicBezTo>
                    <a:cubicBezTo>
                      <a:pt x="156" y="88"/>
                      <a:pt x="182" y="61"/>
                      <a:pt x="208" y="34"/>
                    </a:cubicBezTo>
                    <a:cubicBezTo>
                      <a:pt x="203" y="29"/>
                      <a:pt x="196" y="23"/>
                      <a:pt x="189" y="16"/>
                    </a:cubicBezTo>
                    <a:cubicBezTo>
                      <a:pt x="218" y="10"/>
                      <a:pt x="245" y="5"/>
                      <a:pt x="274" y="0"/>
                    </a:cubicBezTo>
                    <a:cubicBezTo>
                      <a:pt x="269" y="28"/>
                      <a:pt x="264" y="56"/>
                      <a:pt x="259" y="84"/>
                    </a:cubicBezTo>
                    <a:cubicBezTo>
                      <a:pt x="253" y="77"/>
                      <a:pt x="247" y="71"/>
                      <a:pt x="241" y="65"/>
                    </a:cubicBezTo>
                    <a:cubicBezTo>
                      <a:pt x="204" y="102"/>
                      <a:pt x="168" y="137"/>
                      <a:pt x="131" y="174"/>
                    </a:cubicBezTo>
                    <a:cubicBezTo>
                      <a:pt x="119" y="162"/>
                      <a:pt x="108" y="151"/>
                      <a:pt x="95" y="14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62" name="Rounded Rectangle 8"/>
            <p:cNvSpPr/>
            <p:nvPr/>
          </p:nvSpPr>
          <p:spPr>
            <a:xfrm flipH="1">
              <a:off x="2558954" y="4230928"/>
              <a:ext cx="3340100" cy="1119698"/>
            </a:xfrm>
            <a:prstGeom prst="roundRect">
              <a:avLst/>
            </a:prstGeom>
            <a:noFill/>
            <a:ln w="19050">
              <a:solidFill>
                <a:srgbClr val="FC8637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 sz="2968"/>
            </a:p>
          </p:txBody>
        </p:sp>
      </p:grpSp>
      <p:grpSp>
        <p:nvGrpSpPr>
          <p:cNvPr id="21" name="Grupo 20"/>
          <p:cNvGrpSpPr/>
          <p:nvPr/>
        </p:nvGrpSpPr>
        <p:grpSpPr>
          <a:xfrm>
            <a:off x="1030318" y="5439434"/>
            <a:ext cx="4701944" cy="1141559"/>
            <a:chOff x="959172" y="4299242"/>
            <a:chExt cx="4701944" cy="1141559"/>
          </a:xfrm>
        </p:grpSpPr>
        <p:grpSp>
          <p:nvGrpSpPr>
            <p:cNvPr id="20" name="Grupo 19"/>
            <p:cNvGrpSpPr/>
            <p:nvPr/>
          </p:nvGrpSpPr>
          <p:grpSpPr>
            <a:xfrm>
              <a:off x="4478531" y="4299242"/>
              <a:ext cx="1182585" cy="1124336"/>
              <a:chOff x="968348" y="4299242"/>
              <a:chExt cx="1182585" cy="1124336"/>
            </a:xfrm>
          </p:grpSpPr>
          <p:sp>
            <p:nvSpPr>
              <p:cNvPr id="144" name="Rectángulo redondeado 143"/>
              <p:cNvSpPr/>
              <p:nvPr/>
            </p:nvSpPr>
            <p:spPr>
              <a:xfrm>
                <a:off x="968348" y="4299242"/>
                <a:ext cx="1182585" cy="1124336"/>
              </a:xfrm>
              <a:prstGeom prst="roundRect">
                <a:avLst/>
              </a:prstGeom>
              <a:solidFill>
                <a:srgbClr val="FFCC05"/>
              </a:solidFill>
              <a:ln>
                <a:solidFill>
                  <a:srgbClr val="FFCC0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7" name="Grupo 6"/>
              <p:cNvGrpSpPr/>
              <p:nvPr/>
            </p:nvGrpSpPr>
            <p:grpSpPr>
              <a:xfrm>
                <a:off x="1201317" y="4416809"/>
                <a:ext cx="854188" cy="908420"/>
                <a:chOff x="917207" y="5720276"/>
                <a:chExt cx="854188" cy="908420"/>
              </a:xfrm>
            </p:grpSpPr>
            <p:sp>
              <p:nvSpPr>
                <p:cNvPr id="183" name="Freeform 1481"/>
                <p:cNvSpPr>
                  <a:spLocks/>
                </p:cNvSpPr>
                <p:nvPr/>
              </p:nvSpPr>
              <p:spPr bwMode="gray">
                <a:xfrm>
                  <a:off x="935285" y="5720276"/>
                  <a:ext cx="836110" cy="623691"/>
                </a:xfrm>
                <a:custGeom>
                  <a:avLst/>
                  <a:gdLst>
                    <a:gd name="T0" fmla="*/ 90 w 260"/>
                    <a:gd name="T1" fmla="*/ 80 h 194"/>
                    <a:gd name="T2" fmla="*/ 123 w 260"/>
                    <a:gd name="T3" fmla="*/ 111 h 194"/>
                    <a:gd name="T4" fmla="*/ 214 w 260"/>
                    <a:gd name="T5" fmla="*/ 24 h 194"/>
                    <a:gd name="T6" fmla="*/ 200 w 260"/>
                    <a:gd name="T7" fmla="*/ 12 h 194"/>
                    <a:gd name="T8" fmla="*/ 201 w 260"/>
                    <a:gd name="T9" fmla="*/ 11 h 194"/>
                    <a:gd name="T10" fmla="*/ 260 w 260"/>
                    <a:gd name="T11" fmla="*/ 0 h 194"/>
                    <a:gd name="T12" fmla="*/ 249 w 260"/>
                    <a:gd name="T13" fmla="*/ 60 h 194"/>
                    <a:gd name="T14" fmla="*/ 236 w 260"/>
                    <a:gd name="T15" fmla="*/ 47 h 194"/>
                    <a:gd name="T16" fmla="*/ 123 w 260"/>
                    <a:gd name="T17" fmla="*/ 158 h 194"/>
                    <a:gd name="T18" fmla="*/ 89 w 260"/>
                    <a:gd name="T19" fmla="*/ 126 h 194"/>
                    <a:gd name="T20" fmla="*/ 21 w 260"/>
                    <a:gd name="T21" fmla="*/ 194 h 194"/>
                    <a:gd name="T22" fmla="*/ 0 w 260"/>
                    <a:gd name="T23" fmla="*/ 171 h 194"/>
                    <a:gd name="T24" fmla="*/ 90 w 260"/>
                    <a:gd name="T25" fmla="*/ 80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60" h="194">
                      <a:moveTo>
                        <a:pt x="90" y="80"/>
                      </a:moveTo>
                      <a:cubicBezTo>
                        <a:pt x="101" y="90"/>
                        <a:pt x="112" y="101"/>
                        <a:pt x="123" y="111"/>
                      </a:cubicBezTo>
                      <a:cubicBezTo>
                        <a:pt x="153" y="82"/>
                        <a:pt x="183" y="53"/>
                        <a:pt x="214" y="24"/>
                      </a:cubicBezTo>
                      <a:cubicBezTo>
                        <a:pt x="209" y="20"/>
                        <a:pt x="205" y="16"/>
                        <a:pt x="200" y="12"/>
                      </a:cubicBezTo>
                      <a:cubicBezTo>
                        <a:pt x="200" y="11"/>
                        <a:pt x="201" y="11"/>
                        <a:pt x="201" y="11"/>
                      </a:cubicBezTo>
                      <a:cubicBezTo>
                        <a:pt x="221" y="7"/>
                        <a:pt x="240" y="4"/>
                        <a:pt x="260" y="0"/>
                      </a:cubicBezTo>
                      <a:cubicBezTo>
                        <a:pt x="257" y="20"/>
                        <a:pt x="253" y="40"/>
                        <a:pt x="249" y="60"/>
                      </a:cubicBezTo>
                      <a:cubicBezTo>
                        <a:pt x="244" y="56"/>
                        <a:pt x="240" y="51"/>
                        <a:pt x="236" y="47"/>
                      </a:cubicBezTo>
                      <a:cubicBezTo>
                        <a:pt x="198" y="84"/>
                        <a:pt x="161" y="121"/>
                        <a:pt x="123" y="158"/>
                      </a:cubicBezTo>
                      <a:cubicBezTo>
                        <a:pt x="112" y="147"/>
                        <a:pt x="101" y="136"/>
                        <a:pt x="89" y="126"/>
                      </a:cubicBezTo>
                      <a:cubicBezTo>
                        <a:pt x="67" y="148"/>
                        <a:pt x="44" y="171"/>
                        <a:pt x="21" y="194"/>
                      </a:cubicBezTo>
                      <a:cubicBezTo>
                        <a:pt x="13" y="186"/>
                        <a:pt x="6" y="179"/>
                        <a:pt x="0" y="171"/>
                      </a:cubicBezTo>
                      <a:cubicBezTo>
                        <a:pt x="29" y="141"/>
                        <a:pt x="59" y="111"/>
                        <a:pt x="90" y="8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4" name="Freeform 1482"/>
                <p:cNvSpPr>
                  <a:spLocks/>
                </p:cNvSpPr>
                <p:nvPr/>
              </p:nvSpPr>
              <p:spPr bwMode="gray">
                <a:xfrm>
                  <a:off x="1531859" y="6145107"/>
                  <a:ext cx="239536" cy="483585"/>
                </a:xfrm>
                <a:custGeom>
                  <a:avLst/>
                  <a:gdLst>
                    <a:gd name="T0" fmla="*/ 74 w 74"/>
                    <a:gd name="T1" fmla="*/ 151 h 151"/>
                    <a:gd name="T2" fmla="*/ 0 w 74"/>
                    <a:gd name="T3" fmla="*/ 151 h 151"/>
                    <a:gd name="T4" fmla="*/ 0 w 74"/>
                    <a:gd name="T5" fmla="*/ 0 h 151"/>
                    <a:gd name="T6" fmla="*/ 74 w 74"/>
                    <a:gd name="T7" fmla="*/ 0 h 151"/>
                    <a:gd name="T8" fmla="*/ 74 w 74"/>
                    <a:gd name="T9" fmla="*/ 151 h 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4" h="151">
                      <a:moveTo>
                        <a:pt x="74" y="151"/>
                      </a:moveTo>
                      <a:cubicBezTo>
                        <a:pt x="49" y="151"/>
                        <a:pt x="25" y="151"/>
                        <a:pt x="0" y="151"/>
                      </a:cubicBezTo>
                      <a:cubicBezTo>
                        <a:pt x="0" y="101"/>
                        <a:pt x="0" y="50"/>
                        <a:pt x="0" y="0"/>
                      </a:cubicBezTo>
                      <a:cubicBezTo>
                        <a:pt x="25" y="0"/>
                        <a:pt x="49" y="0"/>
                        <a:pt x="74" y="0"/>
                      </a:cubicBezTo>
                      <a:cubicBezTo>
                        <a:pt x="74" y="50"/>
                        <a:pt x="74" y="100"/>
                        <a:pt x="74" y="15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5" name="Freeform 1483"/>
                <p:cNvSpPr>
                  <a:spLocks/>
                </p:cNvSpPr>
                <p:nvPr/>
              </p:nvSpPr>
              <p:spPr bwMode="gray">
                <a:xfrm>
                  <a:off x="1224533" y="6294253"/>
                  <a:ext cx="239536" cy="334443"/>
                </a:xfrm>
                <a:custGeom>
                  <a:avLst/>
                  <a:gdLst>
                    <a:gd name="T0" fmla="*/ 0 w 74"/>
                    <a:gd name="T1" fmla="*/ 105 h 105"/>
                    <a:gd name="T2" fmla="*/ 0 w 74"/>
                    <a:gd name="T3" fmla="*/ 0 h 105"/>
                    <a:gd name="T4" fmla="*/ 74 w 74"/>
                    <a:gd name="T5" fmla="*/ 0 h 105"/>
                    <a:gd name="T6" fmla="*/ 74 w 74"/>
                    <a:gd name="T7" fmla="*/ 105 h 105"/>
                    <a:gd name="T8" fmla="*/ 0 w 74"/>
                    <a:gd name="T9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4" h="105">
                      <a:moveTo>
                        <a:pt x="0" y="105"/>
                      </a:moveTo>
                      <a:cubicBezTo>
                        <a:pt x="0" y="70"/>
                        <a:pt x="0" y="35"/>
                        <a:pt x="0" y="0"/>
                      </a:cubicBezTo>
                      <a:cubicBezTo>
                        <a:pt x="24" y="0"/>
                        <a:pt x="49" y="0"/>
                        <a:pt x="74" y="0"/>
                      </a:cubicBezTo>
                      <a:cubicBezTo>
                        <a:pt x="74" y="35"/>
                        <a:pt x="74" y="70"/>
                        <a:pt x="74" y="105"/>
                      </a:cubicBezTo>
                      <a:cubicBezTo>
                        <a:pt x="49" y="105"/>
                        <a:pt x="24" y="105"/>
                        <a:pt x="0" y="10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6" name="Freeform 1484"/>
                <p:cNvSpPr>
                  <a:spLocks/>
                </p:cNvSpPr>
                <p:nvPr/>
              </p:nvSpPr>
              <p:spPr bwMode="gray">
                <a:xfrm>
                  <a:off x="917207" y="6402720"/>
                  <a:ext cx="235014" cy="225976"/>
                </a:xfrm>
                <a:custGeom>
                  <a:avLst/>
                  <a:gdLst>
                    <a:gd name="T0" fmla="*/ 73 w 73"/>
                    <a:gd name="T1" fmla="*/ 0 h 71"/>
                    <a:gd name="T2" fmla="*/ 73 w 73"/>
                    <a:gd name="T3" fmla="*/ 71 h 71"/>
                    <a:gd name="T4" fmla="*/ 0 w 73"/>
                    <a:gd name="T5" fmla="*/ 71 h 71"/>
                    <a:gd name="T6" fmla="*/ 0 w 73"/>
                    <a:gd name="T7" fmla="*/ 0 h 71"/>
                    <a:gd name="T8" fmla="*/ 73 w 73"/>
                    <a:gd name="T9" fmla="*/ 0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71">
                      <a:moveTo>
                        <a:pt x="73" y="0"/>
                      </a:moveTo>
                      <a:cubicBezTo>
                        <a:pt x="73" y="24"/>
                        <a:pt x="73" y="47"/>
                        <a:pt x="73" y="71"/>
                      </a:cubicBezTo>
                      <a:cubicBezTo>
                        <a:pt x="48" y="71"/>
                        <a:pt x="24" y="71"/>
                        <a:pt x="0" y="71"/>
                      </a:cubicBezTo>
                      <a:cubicBezTo>
                        <a:pt x="0" y="47"/>
                        <a:pt x="0" y="24"/>
                        <a:pt x="0" y="0"/>
                      </a:cubicBezTo>
                      <a:cubicBezTo>
                        <a:pt x="24" y="0"/>
                        <a:pt x="48" y="0"/>
                        <a:pt x="73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19" name="Grupo 18"/>
            <p:cNvGrpSpPr/>
            <p:nvPr/>
          </p:nvGrpSpPr>
          <p:grpSpPr>
            <a:xfrm>
              <a:off x="959172" y="4321103"/>
              <a:ext cx="3401668" cy="1119698"/>
              <a:chOff x="2282223" y="4321103"/>
              <a:chExt cx="3401668" cy="1119698"/>
            </a:xfrm>
          </p:grpSpPr>
          <p:sp>
            <p:nvSpPr>
              <p:cNvPr id="145" name="CuadroTexto 144"/>
              <p:cNvSpPr txBox="1"/>
              <p:nvPr/>
            </p:nvSpPr>
            <p:spPr>
              <a:xfrm>
                <a:off x="2282223" y="4464201"/>
                <a:ext cx="3363151" cy="86177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82562" lvl="1">
                  <a:buClr>
                    <a:srgbClr val="FF0000"/>
                  </a:buClr>
                </a:pPr>
                <a:r>
                  <a:rPr lang="es-ES" altLang="es-ES" sz="1400" b="1" dirty="0">
                    <a:solidFill>
                      <a:srgbClr val="4454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Medición: </a:t>
                </a:r>
                <a:r>
                  <a:rPr lang="es-ES" altLang="es-ES" sz="1200" dirty="0">
                    <a:solidFill>
                      <a:srgbClr val="4454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Monitorización del comportamiento todo el ciclo de desarrollo lo más frecuentemente posible, como entrada a un ciclo de mejora continua.</a:t>
                </a:r>
              </a:p>
            </p:txBody>
          </p:sp>
          <p:sp>
            <p:nvSpPr>
              <p:cNvPr id="64" name="Rounded Rectangle 8"/>
              <p:cNvSpPr/>
              <p:nvPr/>
            </p:nvSpPr>
            <p:spPr>
              <a:xfrm flipH="1">
                <a:off x="2343791" y="4321103"/>
                <a:ext cx="3340100" cy="1119698"/>
              </a:xfrm>
              <a:prstGeom prst="roundRect">
                <a:avLst/>
              </a:prstGeom>
              <a:noFill/>
              <a:ln w="19050">
                <a:solidFill>
                  <a:srgbClr val="FFCC05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 sz="2968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6705881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ángulo redondeado 23"/>
          <p:cNvSpPr/>
          <p:nvPr/>
        </p:nvSpPr>
        <p:spPr>
          <a:xfrm>
            <a:off x="447673" y="5453243"/>
            <a:ext cx="2878979" cy="418649"/>
          </a:xfrm>
          <a:prstGeom prst="roundRect">
            <a:avLst/>
          </a:prstGeom>
          <a:solidFill>
            <a:schemeClr val="accent1">
              <a:alpha val="0"/>
            </a:schemeClr>
          </a:solidFill>
          <a:ln w="19050">
            <a:solidFill>
              <a:srgbClr val="4E5D7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kern="0" dirty="0" smtClean="0">
                <a:solidFill>
                  <a:srgbClr val="357FC2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INFRAESTRUCTURA COMO CÓDIGO</a:t>
            </a:r>
            <a:endParaRPr lang="en-US" sz="1400" b="1" kern="0" dirty="0">
              <a:solidFill>
                <a:srgbClr val="357FC2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6" name="Rounded Rectangle 8"/>
          <p:cNvSpPr/>
          <p:nvPr/>
        </p:nvSpPr>
        <p:spPr>
          <a:xfrm flipH="1">
            <a:off x="2257425" y="1775245"/>
            <a:ext cx="3315346" cy="3136169"/>
          </a:xfrm>
          <a:prstGeom prst="roundRect">
            <a:avLst>
              <a:gd name="adj" fmla="val 5033"/>
            </a:avLst>
          </a:prstGeom>
          <a:solidFill>
            <a:schemeClr val="accent1">
              <a:alpha val="0"/>
            </a:schemeClr>
          </a:solidFill>
          <a:ln w="19050">
            <a:solidFill>
              <a:srgbClr val="4E5D7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2968" dirty="0"/>
          </a:p>
        </p:txBody>
      </p:sp>
      <p:sp>
        <p:nvSpPr>
          <p:cNvPr id="54" name="Forma libre 53"/>
          <p:cNvSpPr/>
          <p:nvPr/>
        </p:nvSpPr>
        <p:spPr>
          <a:xfrm flipH="1">
            <a:off x="447673" y="2162007"/>
            <a:ext cx="8511929" cy="3178037"/>
          </a:xfrm>
          <a:custGeom>
            <a:avLst/>
            <a:gdLst>
              <a:gd name="connsiteX0" fmla="*/ 2439064 w 8511929"/>
              <a:gd name="connsiteY0" fmla="*/ 0 h 3178037"/>
              <a:gd name="connsiteX1" fmla="*/ 129264 w 8511929"/>
              <a:gd name="connsiteY1" fmla="*/ 0 h 3178037"/>
              <a:gd name="connsiteX2" fmla="*/ 0 w 8511929"/>
              <a:gd name="connsiteY2" fmla="*/ 129264 h 3178037"/>
              <a:gd name="connsiteX3" fmla="*/ 0 w 8511929"/>
              <a:gd name="connsiteY3" fmla="*/ 3048773 h 3178037"/>
              <a:gd name="connsiteX4" fmla="*/ 129264 w 8511929"/>
              <a:gd name="connsiteY4" fmla="*/ 3178037 h 3178037"/>
              <a:gd name="connsiteX5" fmla="*/ 2439064 w 8511929"/>
              <a:gd name="connsiteY5" fmla="*/ 3178037 h 3178037"/>
              <a:gd name="connsiteX6" fmla="*/ 2568328 w 8511929"/>
              <a:gd name="connsiteY6" fmla="*/ 3048773 h 3178037"/>
              <a:gd name="connsiteX7" fmla="*/ 2568328 w 8511929"/>
              <a:gd name="connsiteY7" fmla="*/ 2502518 h 3178037"/>
              <a:gd name="connsiteX8" fmla="*/ 4490252 w 8511929"/>
              <a:gd name="connsiteY8" fmla="*/ 2502518 h 3178037"/>
              <a:gd name="connsiteX9" fmla="*/ 4616204 w 8511929"/>
              <a:gd name="connsiteY9" fmla="*/ 2376566 h 3178037"/>
              <a:gd name="connsiteX10" fmla="*/ 4616204 w 8511929"/>
              <a:gd name="connsiteY10" fmla="*/ 2070084 h 3178037"/>
              <a:gd name="connsiteX11" fmla="*/ 8407742 w 8511929"/>
              <a:gd name="connsiteY11" fmla="*/ 2070084 h 3178037"/>
              <a:gd name="connsiteX12" fmla="*/ 8511929 w 8511929"/>
              <a:gd name="connsiteY12" fmla="*/ 1965897 h 3178037"/>
              <a:gd name="connsiteX13" fmla="*/ 8511929 w 8511929"/>
              <a:gd name="connsiteY13" fmla="*/ 104189 h 3178037"/>
              <a:gd name="connsiteX14" fmla="*/ 8407742 w 8511929"/>
              <a:gd name="connsiteY14" fmla="*/ 2 h 3178037"/>
              <a:gd name="connsiteX15" fmla="*/ 4490257 w 8511929"/>
              <a:gd name="connsiteY15" fmla="*/ 2 h 3178037"/>
              <a:gd name="connsiteX16" fmla="*/ 4490252 w 8511929"/>
              <a:gd name="connsiteY16" fmla="*/ 1 h 3178037"/>
              <a:gd name="connsiteX17" fmla="*/ 2439069 w 8511929"/>
              <a:gd name="connsiteY17" fmla="*/ 1 h 3178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511929" h="3178037">
                <a:moveTo>
                  <a:pt x="2439064" y="0"/>
                </a:moveTo>
                <a:lnTo>
                  <a:pt x="129264" y="0"/>
                </a:lnTo>
                <a:cubicBezTo>
                  <a:pt x="57873" y="0"/>
                  <a:pt x="0" y="57873"/>
                  <a:pt x="0" y="129264"/>
                </a:cubicBezTo>
                <a:lnTo>
                  <a:pt x="0" y="3048773"/>
                </a:lnTo>
                <a:cubicBezTo>
                  <a:pt x="0" y="3120164"/>
                  <a:pt x="57873" y="3178037"/>
                  <a:pt x="129264" y="3178037"/>
                </a:cubicBezTo>
                <a:lnTo>
                  <a:pt x="2439064" y="3178037"/>
                </a:lnTo>
                <a:cubicBezTo>
                  <a:pt x="2510455" y="3178037"/>
                  <a:pt x="2568328" y="3120164"/>
                  <a:pt x="2568328" y="3048773"/>
                </a:cubicBezTo>
                <a:lnTo>
                  <a:pt x="2568328" y="2502518"/>
                </a:lnTo>
                <a:lnTo>
                  <a:pt x="4490252" y="2502518"/>
                </a:lnTo>
                <a:cubicBezTo>
                  <a:pt x="4559813" y="2502518"/>
                  <a:pt x="4616204" y="2446127"/>
                  <a:pt x="4616204" y="2376566"/>
                </a:cubicBezTo>
                <a:lnTo>
                  <a:pt x="4616204" y="2070084"/>
                </a:lnTo>
                <a:lnTo>
                  <a:pt x="8407742" y="2070084"/>
                </a:lnTo>
                <a:cubicBezTo>
                  <a:pt x="8465283" y="2070084"/>
                  <a:pt x="8511929" y="2023438"/>
                  <a:pt x="8511929" y="1965897"/>
                </a:cubicBezTo>
                <a:lnTo>
                  <a:pt x="8511929" y="104189"/>
                </a:lnTo>
                <a:cubicBezTo>
                  <a:pt x="8511929" y="46648"/>
                  <a:pt x="8465283" y="2"/>
                  <a:pt x="8407742" y="2"/>
                </a:cubicBezTo>
                <a:lnTo>
                  <a:pt x="4490257" y="2"/>
                </a:lnTo>
                <a:lnTo>
                  <a:pt x="4490252" y="1"/>
                </a:lnTo>
                <a:lnTo>
                  <a:pt x="2439069" y="1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 w="19050">
            <a:solidFill>
              <a:srgbClr val="357FC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PE" sz="2968" dirty="0"/>
          </a:p>
        </p:txBody>
      </p:sp>
      <p:sp>
        <p:nvSpPr>
          <p:cNvPr id="47" name="Forma libre 46"/>
          <p:cNvSpPr/>
          <p:nvPr/>
        </p:nvSpPr>
        <p:spPr>
          <a:xfrm flipH="1">
            <a:off x="596895" y="2328136"/>
            <a:ext cx="7524223" cy="2125298"/>
          </a:xfrm>
          <a:custGeom>
            <a:avLst/>
            <a:gdLst>
              <a:gd name="connsiteX0" fmla="*/ 7289540 w 7374020"/>
              <a:gd name="connsiteY0" fmla="*/ 0 h 2125298"/>
              <a:gd name="connsiteX1" fmla="*/ 3339585 w 7374020"/>
              <a:gd name="connsiteY1" fmla="*/ 0 h 2125298"/>
              <a:gd name="connsiteX2" fmla="*/ 3064296 w 7374020"/>
              <a:gd name="connsiteY2" fmla="*/ 0 h 2125298"/>
              <a:gd name="connsiteX3" fmla="*/ 106966 w 7374020"/>
              <a:gd name="connsiteY3" fmla="*/ 0 h 2125298"/>
              <a:gd name="connsiteX4" fmla="*/ 0 w 7374020"/>
              <a:gd name="connsiteY4" fmla="*/ 106966 h 2125298"/>
              <a:gd name="connsiteX5" fmla="*/ 0 w 7374020"/>
              <a:gd name="connsiteY5" fmla="*/ 2018332 h 2125298"/>
              <a:gd name="connsiteX6" fmla="*/ 106966 w 7374020"/>
              <a:gd name="connsiteY6" fmla="*/ 2125298 h 2125298"/>
              <a:gd name="connsiteX7" fmla="*/ 3339585 w 7374020"/>
              <a:gd name="connsiteY7" fmla="*/ 2125298 h 2125298"/>
              <a:gd name="connsiteX8" fmla="*/ 3446551 w 7374020"/>
              <a:gd name="connsiteY8" fmla="*/ 2018332 h 2125298"/>
              <a:gd name="connsiteX9" fmla="*/ 3446551 w 7374020"/>
              <a:gd name="connsiteY9" fmla="*/ 1678529 h 2125298"/>
              <a:gd name="connsiteX10" fmla="*/ 7289540 w 7374020"/>
              <a:gd name="connsiteY10" fmla="*/ 1678529 h 2125298"/>
              <a:gd name="connsiteX11" fmla="*/ 7374020 w 7374020"/>
              <a:gd name="connsiteY11" fmla="*/ 1594049 h 2125298"/>
              <a:gd name="connsiteX12" fmla="*/ 7374020 w 7374020"/>
              <a:gd name="connsiteY12" fmla="*/ 84480 h 2125298"/>
              <a:gd name="connsiteX13" fmla="*/ 7289540 w 7374020"/>
              <a:gd name="connsiteY13" fmla="*/ 0 h 2125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7374020" h="2125298">
                <a:moveTo>
                  <a:pt x="7289540" y="0"/>
                </a:moveTo>
                <a:lnTo>
                  <a:pt x="3339585" y="0"/>
                </a:lnTo>
                <a:lnTo>
                  <a:pt x="3064296" y="0"/>
                </a:lnTo>
                <a:lnTo>
                  <a:pt x="106966" y="0"/>
                </a:lnTo>
                <a:cubicBezTo>
                  <a:pt x="47890" y="0"/>
                  <a:pt x="0" y="47890"/>
                  <a:pt x="0" y="106966"/>
                </a:cubicBezTo>
                <a:lnTo>
                  <a:pt x="0" y="2018332"/>
                </a:lnTo>
                <a:cubicBezTo>
                  <a:pt x="0" y="2077408"/>
                  <a:pt x="47890" y="2125298"/>
                  <a:pt x="106966" y="2125298"/>
                </a:cubicBezTo>
                <a:lnTo>
                  <a:pt x="3339585" y="2125298"/>
                </a:lnTo>
                <a:cubicBezTo>
                  <a:pt x="3398661" y="2125298"/>
                  <a:pt x="3446551" y="2077408"/>
                  <a:pt x="3446551" y="2018332"/>
                </a:cubicBezTo>
                <a:lnTo>
                  <a:pt x="3446551" y="1678529"/>
                </a:lnTo>
                <a:lnTo>
                  <a:pt x="7289540" y="1678529"/>
                </a:lnTo>
                <a:cubicBezTo>
                  <a:pt x="7336197" y="1678529"/>
                  <a:pt x="7374020" y="1640706"/>
                  <a:pt x="7374020" y="1594049"/>
                </a:cubicBezTo>
                <a:lnTo>
                  <a:pt x="7374020" y="84480"/>
                </a:lnTo>
                <a:cubicBezTo>
                  <a:pt x="7374020" y="37823"/>
                  <a:pt x="7336197" y="0"/>
                  <a:pt x="7289540" y="0"/>
                </a:cubicBezTo>
                <a:close/>
              </a:path>
            </a:pathLst>
          </a:custGeom>
          <a:solidFill>
            <a:schemeClr val="accent1">
              <a:alpha val="0"/>
            </a:schemeClr>
          </a:solidFill>
          <a:ln w="19050">
            <a:solidFill>
              <a:srgbClr val="FFCC0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PE" sz="2968" dirty="0"/>
          </a:p>
        </p:txBody>
      </p:sp>
      <p:sp>
        <p:nvSpPr>
          <p:cNvPr id="43" name="Forma libre 42"/>
          <p:cNvSpPr/>
          <p:nvPr/>
        </p:nvSpPr>
        <p:spPr>
          <a:xfrm flipH="1">
            <a:off x="792376" y="2513390"/>
            <a:ext cx="5757328" cy="1334526"/>
          </a:xfrm>
          <a:custGeom>
            <a:avLst/>
            <a:gdLst>
              <a:gd name="connsiteX0" fmla="*/ 5625392 w 5671913"/>
              <a:gd name="connsiteY0" fmla="*/ 0 h 1334526"/>
              <a:gd name="connsiteX1" fmla="*/ 2999762 w 5671913"/>
              <a:gd name="connsiteY1" fmla="*/ 0 h 1334526"/>
              <a:gd name="connsiteX2" fmla="*/ 2948284 w 5671913"/>
              <a:gd name="connsiteY2" fmla="*/ 0 h 1334526"/>
              <a:gd name="connsiteX3" fmla="*/ 67167 w 5671913"/>
              <a:gd name="connsiteY3" fmla="*/ 0 h 1334526"/>
              <a:gd name="connsiteX4" fmla="*/ 0 w 5671913"/>
              <a:gd name="connsiteY4" fmla="*/ 67167 h 1334526"/>
              <a:gd name="connsiteX5" fmla="*/ 0 w 5671913"/>
              <a:gd name="connsiteY5" fmla="*/ 1267359 h 1334526"/>
              <a:gd name="connsiteX6" fmla="*/ 67167 w 5671913"/>
              <a:gd name="connsiteY6" fmla="*/ 1334526 h 1334526"/>
              <a:gd name="connsiteX7" fmla="*/ 2999762 w 5671913"/>
              <a:gd name="connsiteY7" fmla="*/ 1334526 h 1334526"/>
              <a:gd name="connsiteX8" fmla="*/ 3066929 w 5671913"/>
              <a:gd name="connsiteY8" fmla="*/ 1267359 h 1334526"/>
              <a:gd name="connsiteX9" fmla="*/ 3066929 w 5671913"/>
              <a:gd name="connsiteY9" fmla="*/ 924316 h 1334526"/>
              <a:gd name="connsiteX10" fmla="*/ 5625392 w 5671913"/>
              <a:gd name="connsiteY10" fmla="*/ 924316 h 1334526"/>
              <a:gd name="connsiteX11" fmla="*/ 5671913 w 5671913"/>
              <a:gd name="connsiteY11" fmla="*/ 877795 h 1334526"/>
              <a:gd name="connsiteX12" fmla="*/ 5671913 w 5671913"/>
              <a:gd name="connsiteY12" fmla="*/ 46521 h 1334526"/>
              <a:gd name="connsiteX13" fmla="*/ 5625392 w 5671913"/>
              <a:gd name="connsiteY13" fmla="*/ 0 h 1334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671913" h="1334526">
                <a:moveTo>
                  <a:pt x="5625392" y="0"/>
                </a:moveTo>
                <a:lnTo>
                  <a:pt x="2999762" y="0"/>
                </a:lnTo>
                <a:lnTo>
                  <a:pt x="2948284" y="0"/>
                </a:lnTo>
                <a:lnTo>
                  <a:pt x="67167" y="0"/>
                </a:lnTo>
                <a:cubicBezTo>
                  <a:pt x="30072" y="0"/>
                  <a:pt x="0" y="30072"/>
                  <a:pt x="0" y="67167"/>
                </a:cubicBezTo>
                <a:lnTo>
                  <a:pt x="0" y="1267359"/>
                </a:lnTo>
                <a:cubicBezTo>
                  <a:pt x="0" y="1304454"/>
                  <a:pt x="30072" y="1334526"/>
                  <a:pt x="67167" y="1334526"/>
                </a:cubicBezTo>
                <a:lnTo>
                  <a:pt x="2999762" y="1334526"/>
                </a:lnTo>
                <a:cubicBezTo>
                  <a:pt x="3036857" y="1334526"/>
                  <a:pt x="3066929" y="1304454"/>
                  <a:pt x="3066929" y="1267359"/>
                </a:cubicBezTo>
                <a:lnTo>
                  <a:pt x="3066929" y="924316"/>
                </a:lnTo>
                <a:lnTo>
                  <a:pt x="5625392" y="924316"/>
                </a:lnTo>
                <a:cubicBezTo>
                  <a:pt x="5651085" y="924316"/>
                  <a:pt x="5671913" y="903488"/>
                  <a:pt x="5671913" y="877795"/>
                </a:cubicBezTo>
                <a:lnTo>
                  <a:pt x="5671913" y="46521"/>
                </a:lnTo>
                <a:cubicBezTo>
                  <a:pt x="5671913" y="20828"/>
                  <a:pt x="5651085" y="0"/>
                  <a:pt x="5625392" y="0"/>
                </a:cubicBezTo>
                <a:close/>
              </a:path>
            </a:pathLst>
          </a:custGeom>
          <a:solidFill>
            <a:schemeClr val="accent1">
              <a:alpha val="0"/>
            </a:schemeClr>
          </a:solidFill>
          <a:ln w="19050">
            <a:solidFill>
              <a:srgbClr val="79B84F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PE" sz="2968" dirty="0"/>
          </a:p>
        </p:txBody>
      </p:sp>
      <p:sp>
        <p:nvSpPr>
          <p:cNvPr id="30" name="Rounded Rectangle 8"/>
          <p:cNvSpPr/>
          <p:nvPr/>
        </p:nvSpPr>
        <p:spPr>
          <a:xfrm flipH="1">
            <a:off x="962609" y="2679081"/>
            <a:ext cx="4106566" cy="587235"/>
          </a:xfrm>
          <a:prstGeom prst="roundRect">
            <a:avLst>
              <a:gd name="adj" fmla="val 5033"/>
            </a:avLst>
          </a:prstGeom>
          <a:solidFill>
            <a:schemeClr val="accent1">
              <a:alpha val="0"/>
            </a:schemeClr>
          </a:solidFill>
          <a:ln w="19050">
            <a:solidFill>
              <a:srgbClr val="FC863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2968" dirty="0"/>
          </a:p>
        </p:txBody>
      </p:sp>
      <p:sp>
        <p:nvSpPr>
          <p:cNvPr id="2" name="Marcador de texto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PE" dirty="0"/>
              <a:t>Introducción a DevOps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PE" dirty="0" smtClean="0"/>
              <a:t>DevOps dentro del ciclo de desarrollo de software</a:t>
            </a:r>
            <a:endParaRPr lang="en-US" dirty="0"/>
          </a:p>
        </p:txBody>
      </p:sp>
      <p:sp>
        <p:nvSpPr>
          <p:cNvPr id="4" name="TextBox 36"/>
          <p:cNvSpPr txBox="1"/>
          <p:nvPr/>
        </p:nvSpPr>
        <p:spPr>
          <a:xfrm>
            <a:off x="3326652" y="2814443"/>
            <a:ext cx="1864098" cy="324652"/>
          </a:xfrm>
          <a:prstGeom prst="rect">
            <a:avLst/>
          </a:prstGeom>
          <a:noFill/>
        </p:spPr>
        <p:txBody>
          <a:bodyPr wrap="square" lIns="169813" tIns="84905" rIns="169813" bIns="84905">
            <a:spAutoFit/>
          </a:bodyPr>
          <a:lstStyle>
            <a:defPPr>
              <a:defRPr lang="en-US"/>
            </a:defPPr>
            <a:lvl1pPr algn="ctr">
              <a:defRPr sz="800" b="1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1698205">
              <a:lnSpc>
                <a:spcPts val="1114"/>
              </a:lnSpc>
              <a:defRPr/>
            </a:pPr>
            <a:r>
              <a:rPr lang="en-US" sz="1400" kern="0" dirty="0" smtClean="0">
                <a:solidFill>
                  <a:srgbClr val="4E5D72"/>
                </a:solidFill>
                <a:latin typeface="+mn-lt"/>
              </a:rPr>
              <a:t>DESARROLLO ÁGIL</a:t>
            </a:r>
            <a:endParaRPr lang="en-US" sz="1400" kern="0" dirty="0">
              <a:solidFill>
                <a:srgbClr val="4E5D72"/>
              </a:solidFill>
              <a:latin typeface="+mn-lt"/>
            </a:endParaRPr>
          </a:p>
        </p:txBody>
      </p:sp>
      <p:sp>
        <p:nvSpPr>
          <p:cNvPr id="5" name="TextBox 36"/>
          <p:cNvSpPr txBox="1"/>
          <p:nvPr/>
        </p:nvSpPr>
        <p:spPr>
          <a:xfrm>
            <a:off x="4353318" y="3406569"/>
            <a:ext cx="2341452" cy="324652"/>
          </a:xfrm>
          <a:prstGeom prst="rect">
            <a:avLst/>
          </a:prstGeom>
          <a:noFill/>
        </p:spPr>
        <p:txBody>
          <a:bodyPr wrap="square" lIns="169813" tIns="84905" rIns="169813" bIns="84905">
            <a:spAutoFit/>
          </a:bodyPr>
          <a:lstStyle>
            <a:defPPr>
              <a:defRPr lang="en-US"/>
            </a:defPPr>
            <a:lvl1pPr algn="ctr">
              <a:defRPr sz="800" b="1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1698205">
              <a:lnSpc>
                <a:spcPts val="1114"/>
              </a:lnSpc>
              <a:defRPr/>
            </a:pPr>
            <a:r>
              <a:rPr lang="en-US" sz="1400" kern="0" dirty="0" smtClean="0">
                <a:solidFill>
                  <a:srgbClr val="44546A"/>
                </a:solidFill>
                <a:latin typeface="+mn-lt"/>
              </a:rPr>
              <a:t>INTEGRACIÓN CONTINUA</a:t>
            </a:r>
            <a:endParaRPr lang="en-US" sz="1400" kern="0" dirty="0">
              <a:solidFill>
                <a:srgbClr val="44546A"/>
              </a:solidFill>
              <a:latin typeface="+mn-lt"/>
            </a:endParaRPr>
          </a:p>
        </p:txBody>
      </p:sp>
      <p:sp>
        <p:nvSpPr>
          <p:cNvPr id="6" name="TextBox 36"/>
          <p:cNvSpPr txBox="1"/>
          <p:nvPr/>
        </p:nvSpPr>
        <p:spPr>
          <a:xfrm>
            <a:off x="6120227" y="3999521"/>
            <a:ext cx="2341452" cy="324652"/>
          </a:xfrm>
          <a:prstGeom prst="rect">
            <a:avLst/>
          </a:prstGeom>
          <a:noFill/>
        </p:spPr>
        <p:txBody>
          <a:bodyPr wrap="square" lIns="169813" tIns="84905" rIns="169813" bIns="84905">
            <a:spAutoFit/>
          </a:bodyPr>
          <a:lstStyle>
            <a:defPPr>
              <a:defRPr lang="en-US"/>
            </a:defPPr>
            <a:lvl1pPr algn="ctr">
              <a:defRPr sz="800" b="1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1698205">
              <a:lnSpc>
                <a:spcPts val="1114"/>
              </a:lnSpc>
              <a:defRPr/>
            </a:pPr>
            <a:r>
              <a:rPr lang="en-US" sz="1400" kern="0" dirty="0" smtClean="0">
                <a:solidFill>
                  <a:srgbClr val="4E5D72"/>
                </a:solidFill>
                <a:latin typeface="+mn-lt"/>
              </a:rPr>
              <a:t>ENTREGA CONTINUA</a:t>
            </a:r>
            <a:endParaRPr lang="en-US" sz="1400" kern="0" dirty="0">
              <a:solidFill>
                <a:srgbClr val="4E5D72"/>
              </a:solidFill>
              <a:latin typeface="+mn-lt"/>
            </a:endParaRPr>
          </a:p>
        </p:txBody>
      </p:sp>
      <p:sp>
        <p:nvSpPr>
          <p:cNvPr id="13" name="Rectángulo redondeado 12"/>
          <p:cNvSpPr/>
          <p:nvPr/>
        </p:nvSpPr>
        <p:spPr>
          <a:xfrm>
            <a:off x="3562527" y="3379515"/>
            <a:ext cx="961840" cy="354643"/>
          </a:xfrm>
          <a:prstGeom prst="roundRect">
            <a:avLst/>
          </a:prstGeom>
          <a:solidFill>
            <a:srgbClr val="79B84F"/>
          </a:solidFill>
          <a:ln>
            <a:solidFill>
              <a:srgbClr val="79B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 smtClean="0"/>
              <a:t>Integración</a:t>
            </a:r>
            <a:endParaRPr lang="en-US" b="1" dirty="0"/>
          </a:p>
        </p:txBody>
      </p:sp>
      <p:sp>
        <p:nvSpPr>
          <p:cNvPr id="14" name="Rectángulo redondeado 13"/>
          <p:cNvSpPr/>
          <p:nvPr/>
        </p:nvSpPr>
        <p:spPr>
          <a:xfrm>
            <a:off x="2325397" y="2796811"/>
            <a:ext cx="1116791" cy="351777"/>
          </a:xfrm>
          <a:prstGeom prst="roundRect">
            <a:avLst/>
          </a:prstGeom>
          <a:solidFill>
            <a:srgbClr val="FC8637"/>
          </a:solidFill>
          <a:ln>
            <a:solidFill>
              <a:srgbClr val="FC86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 smtClean="0"/>
              <a:t>Construcción</a:t>
            </a:r>
            <a:endParaRPr lang="en-US" sz="1400" b="1" dirty="0"/>
          </a:p>
        </p:txBody>
      </p:sp>
      <p:sp>
        <p:nvSpPr>
          <p:cNvPr id="15" name="Rectángulo redondeado 14"/>
          <p:cNvSpPr/>
          <p:nvPr/>
        </p:nvSpPr>
        <p:spPr>
          <a:xfrm>
            <a:off x="1064126" y="2796810"/>
            <a:ext cx="1122797" cy="344675"/>
          </a:xfrm>
          <a:prstGeom prst="roundRect">
            <a:avLst/>
          </a:prstGeom>
          <a:solidFill>
            <a:srgbClr val="FC8637"/>
          </a:solidFill>
          <a:ln>
            <a:solidFill>
              <a:srgbClr val="FC86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 smtClean="0"/>
              <a:t>Planificación</a:t>
            </a:r>
            <a:endParaRPr lang="en-US" sz="1400" b="1" dirty="0"/>
          </a:p>
        </p:txBody>
      </p:sp>
      <p:sp>
        <p:nvSpPr>
          <p:cNvPr id="17" name="TextBox 36"/>
          <p:cNvSpPr txBox="1"/>
          <p:nvPr/>
        </p:nvSpPr>
        <p:spPr>
          <a:xfrm>
            <a:off x="2795451" y="1806300"/>
            <a:ext cx="2290795" cy="312533"/>
          </a:xfrm>
          <a:prstGeom prst="rect">
            <a:avLst/>
          </a:prstGeom>
          <a:noFill/>
        </p:spPr>
        <p:txBody>
          <a:bodyPr wrap="square" lIns="169813" tIns="84905" rIns="169813" bIns="84905">
            <a:spAutoFit/>
          </a:bodyPr>
          <a:lstStyle>
            <a:defPPr>
              <a:defRPr lang="en-US"/>
            </a:defPPr>
            <a:lvl1pPr algn="ctr">
              <a:defRPr sz="800" b="1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1698205">
              <a:lnSpc>
                <a:spcPts val="1114"/>
              </a:lnSpc>
              <a:defRPr/>
            </a:pPr>
            <a:r>
              <a:rPr lang="en-US" sz="1400" kern="0" dirty="0" smtClean="0">
                <a:solidFill>
                  <a:srgbClr val="4E5D72"/>
                </a:solidFill>
                <a:latin typeface="+mn-lt"/>
              </a:rPr>
              <a:t>PRUEBAS CONTINUAS</a:t>
            </a:r>
            <a:endParaRPr lang="en-US" sz="1400" kern="0" dirty="0">
              <a:solidFill>
                <a:srgbClr val="4E5D72"/>
              </a:solidFill>
              <a:latin typeface="+mn-lt"/>
            </a:endParaRPr>
          </a:p>
        </p:txBody>
      </p:sp>
      <p:sp>
        <p:nvSpPr>
          <p:cNvPr id="18" name="CuadroTexto 17"/>
          <p:cNvSpPr txBox="1"/>
          <p:nvPr/>
        </p:nvSpPr>
        <p:spPr>
          <a:xfrm>
            <a:off x="4943775" y="1287699"/>
            <a:ext cx="1431381" cy="523220"/>
          </a:xfrm>
          <a:prstGeom prst="rect">
            <a:avLst/>
          </a:prstGeom>
          <a:noFill/>
          <a:ln w="19050">
            <a:noFill/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es-PE" sz="2800" b="1" dirty="0" err="1" smtClean="0">
                <a:solidFill>
                  <a:srgbClr val="4E5D72"/>
                </a:solidFill>
              </a:rPr>
              <a:t>Dev</a:t>
            </a:r>
            <a:endParaRPr lang="en-US" sz="2800" b="1" dirty="0">
              <a:solidFill>
                <a:srgbClr val="4E5D72"/>
              </a:solidFill>
            </a:endParaRPr>
          </a:p>
        </p:txBody>
      </p:sp>
      <p:sp>
        <p:nvSpPr>
          <p:cNvPr id="19" name="Rectángulo redondeado 18"/>
          <p:cNvSpPr/>
          <p:nvPr/>
        </p:nvSpPr>
        <p:spPr>
          <a:xfrm>
            <a:off x="4709411" y="3961388"/>
            <a:ext cx="749318" cy="368286"/>
          </a:xfrm>
          <a:prstGeom prst="roundRect">
            <a:avLst/>
          </a:prstGeom>
          <a:solidFill>
            <a:srgbClr val="FFCC05"/>
          </a:solidFill>
          <a:ln>
            <a:solidFill>
              <a:srgbClr val="FFCC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 smtClean="0">
                <a:solidFill>
                  <a:schemeClr val="bg1"/>
                </a:solidFill>
              </a:rPr>
              <a:t>Pruebas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0" name="Rectángulo redondeado 19"/>
          <p:cNvSpPr/>
          <p:nvPr/>
        </p:nvSpPr>
        <p:spPr>
          <a:xfrm>
            <a:off x="5706379" y="3961538"/>
            <a:ext cx="749318" cy="368136"/>
          </a:xfrm>
          <a:prstGeom prst="roundRect">
            <a:avLst/>
          </a:prstGeom>
          <a:solidFill>
            <a:srgbClr val="FFCC05"/>
          </a:solidFill>
          <a:ln>
            <a:solidFill>
              <a:srgbClr val="FFCC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 err="1" smtClean="0">
                <a:solidFill>
                  <a:schemeClr val="bg1"/>
                </a:solidFill>
              </a:rPr>
              <a:t>Release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1" name="Rectángulo redondeado 20"/>
          <p:cNvSpPr/>
          <p:nvPr/>
        </p:nvSpPr>
        <p:spPr>
          <a:xfrm>
            <a:off x="6549705" y="4572377"/>
            <a:ext cx="1047418" cy="357138"/>
          </a:xfrm>
          <a:prstGeom prst="roundRect">
            <a:avLst/>
          </a:prstGeom>
          <a:solidFill>
            <a:srgbClr val="357FC2"/>
          </a:solidFill>
          <a:ln>
            <a:solidFill>
              <a:srgbClr val="357FC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 smtClean="0"/>
              <a:t>Despliegue</a:t>
            </a:r>
            <a:endParaRPr lang="en-US" b="1" dirty="0"/>
          </a:p>
        </p:txBody>
      </p:sp>
      <p:sp>
        <p:nvSpPr>
          <p:cNvPr id="22" name="Rectángulo redondeado 21"/>
          <p:cNvSpPr/>
          <p:nvPr/>
        </p:nvSpPr>
        <p:spPr>
          <a:xfrm>
            <a:off x="5177877" y="5455219"/>
            <a:ext cx="2042127" cy="416673"/>
          </a:xfrm>
          <a:prstGeom prst="roundRect">
            <a:avLst/>
          </a:prstGeom>
          <a:solidFill>
            <a:schemeClr val="accent1">
              <a:alpha val="0"/>
            </a:schemeClr>
          </a:solidFill>
          <a:ln w="19050">
            <a:solidFill>
              <a:srgbClr val="4E5D7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kern="0" dirty="0" smtClean="0">
                <a:solidFill>
                  <a:srgbClr val="357FC2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MONITOREO CONTINUO</a:t>
            </a:r>
            <a:endParaRPr lang="en-US" sz="1400" b="1" kern="0" dirty="0">
              <a:solidFill>
                <a:srgbClr val="357FC2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Rectángulo redondeado 22"/>
          <p:cNvSpPr/>
          <p:nvPr/>
        </p:nvSpPr>
        <p:spPr>
          <a:xfrm>
            <a:off x="3642591" y="5455219"/>
            <a:ext cx="1219347" cy="416673"/>
          </a:xfrm>
          <a:prstGeom prst="roundRect">
            <a:avLst/>
          </a:prstGeom>
          <a:solidFill>
            <a:schemeClr val="accent1">
              <a:alpha val="0"/>
            </a:schemeClr>
          </a:solidFill>
          <a:ln w="19050">
            <a:solidFill>
              <a:srgbClr val="4E5D7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kern="0" dirty="0">
                <a:solidFill>
                  <a:srgbClr val="357FC2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GOBIERNO</a:t>
            </a:r>
            <a:endParaRPr lang="en-US" sz="1400" b="1" kern="0" dirty="0">
              <a:solidFill>
                <a:srgbClr val="357FC2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Rectángulo redondeado 24"/>
          <p:cNvSpPr/>
          <p:nvPr/>
        </p:nvSpPr>
        <p:spPr>
          <a:xfrm>
            <a:off x="7535942" y="5453243"/>
            <a:ext cx="1423663" cy="418649"/>
          </a:xfrm>
          <a:prstGeom prst="roundRect">
            <a:avLst/>
          </a:prstGeom>
          <a:solidFill>
            <a:schemeClr val="accent1">
              <a:alpha val="0"/>
            </a:schemeClr>
          </a:solidFill>
          <a:ln w="19050">
            <a:solidFill>
              <a:srgbClr val="4E5D7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kern="0" dirty="0">
                <a:solidFill>
                  <a:srgbClr val="357FC2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SEGURIDAD</a:t>
            </a:r>
            <a:endParaRPr lang="en-US" sz="1400" b="1" kern="0" dirty="0">
              <a:solidFill>
                <a:srgbClr val="357FC2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9" name="Arc 17"/>
          <p:cNvSpPr>
            <a:spLocks noChangeAspect="1"/>
          </p:cNvSpPr>
          <p:nvPr/>
        </p:nvSpPr>
        <p:spPr bwMode="auto">
          <a:xfrm>
            <a:off x="5960979" y="1143944"/>
            <a:ext cx="950852" cy="895044"/>
          </a:xfrm>
          <a:prstGeom prst="arc">
            <a:avLst>
              <a:gd name="adj1" fmla="val 12583345"/>
              <a:gd name="adj2" fmla="val 8493511"/>
            </a:avLst>
          </a:prstGeom>
          <a:ln w="190500">
            <a:solidFill>
              <a:srgbClr val="4E5D72"/>
            </a:solidFill>
            <a:headEnd type="triangle" w="med" len="sm"/>
            <a:tailEnd type="none" w="med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0" name="Rectángulo redondeado 39"/>
          <p:cNvSpPr/>
          <p:nvPr/>
        </p:nvSpPr>
        <p:spPr>
          <a:xfrm>
            <a:off x="7749523" y="4572377"/>
            <a:ext cx="1047418" cy="357138"/>
          </a:xfrm>
          <a:prstGeom prst="roundRect">
            <a:avLst/>
          </a:prstGeom>
          <a:solidFill>
            <a:srgbClr val="357FC2"/>
          </a:solidFill>
          <a:ln>
            <a:solidFill>
              <a:srgbClr val="357FC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 smtClean="0"/>
              <a:t>Operación</a:t>
            </a:r>
            <a:endParaRPr lang="en-US" b="1" dirty="0"/>
          </a:p>
        </p:txBody>
      </p:sp>
      <p:sp>
        <p:nvSpPr>
          <p:cNvPr id="41" name="TextBox 36"/>
          <p:cNvSpPr txBox="1"/>
          <p:nvPr/>
        </p:nvSpPr>
        <p:spPr>
          <a:xfrm>
            <a:off x="6598684" y="4963666"/>
            <a:ext cx="2341452" cy="324652"/>
          </a:xfrm>
          <a:prstGeom prst="rect">
            <a:avLst/>
          </a:prstGeom>
          <a:noFill/>
        </p:spPr>
        <p:txBody>
          <a:bodyPr wrap="square" lIns="169813" tIns="84905" rIns="169813" bIns="84905">
            <a:spAutoFit/>
          </a:bodyPr>
          <a:lstStyle>
            <a:defPPr>
              <a:defRPr lang="en-US"/>
            </a:defPPr>
            <a:lvl1pPr algn="ctr">
              <a:defRPr sz="800" b="1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1698205">
              <a:lnSpc>
                <a:spcPts val="1114"/>
              </a:lnSpc>
              <a:defRPr/>
            </a:pPr>
            <a:r>
              <a:rPr lang="en-US" sz="1400" kern="0" dirty="0" smtClean="0">
                <a:solidFill>
                  <a:srgbClr val="4E5D72"/>
                </a:solidFill>
                <a:latin typeface="+mn-lt"/>
              </a:rPr>
              <a:t>DESPLIEGUE CONTINUO</a:t>
            </a:r>
            <a:endParaRPr lang="en-US" sz="1400" kern="0" dirty="0">
              <a:solidFill>
                <a:srgbClr val="4E5D72"/>
              </a:solidFill>
              <a:latin typeface="+mn-lt"/>
            </a:endParaRPr>
          </a:p>
        </p:txBody>
      </p:sp>
      <p:sp>
        <p:nvSpPr>
          <p:cNvPr id="44" name="CuadroTexto 43"/>
          <p:cNvSpPr txBox="1"/>
          <p:nvPr/>
        </p:nvSpPr>
        <p:spPr>
          <a:xfrm>
            <a:off x="6689738" y="1294879"/>
            <a:ext cx="1431381" cy="523220"/>
          </a:xfrm>
          <a:prstGeom prst="rect">
            <a:avLst/>
          </a:prstGeom>
          <a:noFill/>
          <a:ln w="19050">
            <a:noFill/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es-PE" sz="2800" b="1" dirty="0" err="1" smtClean="0">
                <a:solidFill>
                  <a:srgbClr val="4E5D72"/>
                </a:solidFill>
              </a:rPr>
              <a:t>Ops</a:t>
            </a:r>
            <a:endParaRPr lang="en-US" sz="2800" b="1" dirty="0">
              <a:solidFill>
                <a:srgbClr val="4E5D72"/>
              </a:solidFill>
            </a:endParaRPr>
          </a:p>
        </p:txBody>
      </p:sp>
      <p:cxnSp>
        <p:nvCxnSpPr>
          <p:cNvPr id="57" name="Conector recto 56"/>
          <p:cNvCxnSpPr/>
          <p:nvPr/>
        </p:nvCxnSpPr>
        <p:spPr>
          <a:xfrm flipV="1">
            <a:off x="6489001" y="1449025"/>
            <a:ext cx="0" cy="343096"/>
          </a:xfrm>
          <a:prstGeom prst="line">
            <a:avLst/>
          </a:prstGeom>
          <a:ln w="28575">
            <a:solidFill>
              <a:srgbClr val="4E5D7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24 Rectángulo"/>
          <p:cNvSpPr>
            <a:spLocks noChangeArrowheads="1"/>
          </p:cNvSpPr>
          <p:nvPr/>
        </p:nvSpPr>
        <p:spPr bwMode="auto">
          <a:xfrm>
            <a:off x="339213" y="5867014"/>
            <a:ext cx="876054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182562" lvl="1" indent="0" algn="just" eaLnBrk="1" hangingPunct="1">
              <a:lnSpc>
                <a:spcPct val="90000"/>
              </a:lnSpc>
              <a:buClr>
                <a:srgbClr val="FF0000"/>
              </a:buClr>
            </a:pPr>
            <a:r>
              <a:rPr lang="es-ES" altLang="es-ES" sz="1000" spc="600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apacidades transversales  a  todo  el  proceso  de  desarrollo</a:t>
            </a:r>
            <a:endParaRPr lang="es-ES" altLang="es-ES" sz="900" spc="600" dirty="0">
              <a:solidFill>
                <a:srgbClr val="4454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" name="Text Placeholder 6"/>
          <p:cNvSpPr txBox="1">
            <a:spLocks/>
          </p:cNvSpPr>
          <p:nvPr/>
        </p:nvSpPr>
        <p:spPr>
          <a:xfrm>
            <a:off x="9073447" y="1287699"/>
            <a:ext cx="2927007" cy="216643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r>
              <a:rPr lang="es-ES" sz="1800" b="1" dirty="0">
                <a:solidFill>
                  <a:srgbClr val="357FC2"/>
                </a:solidFill>
              </a:rPr>
              <a:t>DevOps</a:t>
            </a:r>
            <a:r>
              <a:rPr lang="es-ES" sz="1600" dirty="0">
                <a:solidFill>
                  <a:srgbClr val="357FC2"/>
                </a:solidFill>
              </a:rPr>
              <a:t> es un conjunto de prácticas destinadas a reducir el tiempo entre el compromiso de un cambio en un sistema y cuando este llega a </a:t>
            </a:r>
            <a:r>
              <a:rPr lang="es-ES" sz="1600" dirty="0" smtClean="0">
                <a:solidFill>
                  <a:srgbClr val="357FC2"/>
                </a:solidFill>
              </a:rPr>
              <a:t>producción</a:t>
            </a:r>
            <a:r>
              <a:rPr lang="es-ES" sz="1600" dirty="0">
                <a:solidFill>
                  <a:srgbClr val="357FC2"/>
                </a:solidFill>
              </a:rPr>
              <a:t>, al tiempo que se </a:t>
            </a:r>
            <a:r>
              <a:rPr lang="es-ES" sz="1600" dirty="0" smtClean="0">
                <a:solidFill>
                  <a:srgbClr val="357FC2"/>
                </a:solidFill>
              </a:rPr>
              <a:t>garantiza una </a:t>
            </a:r>
            <a:r>
              <a:rPr lang="es-ES" sz="1600" dirty="0">
                <a:solidFill>
                  <a:srgbClr val="357FC2"/>
                </a:solidFill>
              </a:rPr>
              <a:t>alta calidad.</a:t>
            </a:r>
          </a:p>
          <a:p>
            <a:pPr marL="0" indent="0" algn="r">
              <a:buNone/>
            </a:pPr>
            <a:r>
              <a:rPr lang="es-ES" sz="1600" dirty="0">
                <a:solidFill>
                  <a:srgbClr val="4472C4"/>
                </a:solidFill>
              </a:rPr>
              <a:t>—BASS, WEBER Y ZHU</a:t>
            </a:r>
          </a:p>
          <a:p>
            <a:pPr marL="0" indent="0" algn="just">
              <a:buFont typeface="Arial" panose="020B0604020202020204" pitchFamily="34" charset="0"/>
              <a:buNone/>
            </a:pPr>
            <a:endParaRPr lang="en-US" sz="1600" dirty="0"/>
          </a:p>
        </p:txBody>
      </p:sp>
      <p:sp>
        <p:nvSpPr>
          <p:cNvPr id="32" name="Text Placeholder 6"/>
          <p:cNvSpPr txBox="1">
            <a:spLocks/>
          </p:cNvSpPr>
          <p:nvPr/>
        </p:nvSpPr>
        <p:spPr>
          <a:xfrm>
            <a:off x="9099755" y="3820786"/>
            <a:ext cx="2927007" cy="167957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s-ES" sz="2000" b="1" dirty="0">
                <a:solidFill>
                  <a:srgbClr val="357FC2"/>
                </a:solidFill>
              </a:rPr>
              <a:t>El desarrollo ágil </a:t>
            </a:r>
            <a:r>
              <a:rPr lang="es-ES" sz="1600" dirty="0">
                <a:solidFill>
                  <a:srgbClr val="357FC2"/>
                </a:solidFill>
              </a:rPr>
              <a:t>es adaptable en lugar de predictivo, está orientado a las personas en lugar de a procesos.</a:t>
            </a:r>
          </a:p>
          <a:p>
            <a:pPr marL="0" indent="0" algn="r">
              <a:buNone/>
            </a:pPr>
            <a:r>
              <a:rPr lang="es-ES" sz="1600" dirty="0">
                <a:solidFill>
                  <a:srgbClr val="4472C4"/>
                </a:solidFill>
              </a:rPr>
              <a:t>— </a:t>
            </a:r>
            <a:r>
              <a:rPr lang="es-ES" sz="1600" dirty="0" smtClean="0">
                <a:solidFill>
                  <a:srgbClr val="4472C4"/>
                </a:solidFill>
              </a:rPr>
              <a:t>M</a:t>
            </a:r>
            <a:r>
              <a:rPr lang="es-ES" sz="1600" dirty="0">
                <a:solidFill>
                  <a:srgbClr val="4472C4"/>
                </a:solidFill>
              </a:rPr>
              <a:t>. FOWLER</a:t>
            </a:r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7807" y="62007"/>
            <a:ext cx="2260874" cy="908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9838089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PE" dirty="0"/>
              <a:t>Introducción a DevOps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1"/>
          </p:nvPr>
        </p:nvSpPr>
        <p:spPr>
          <a:xfrm>
            <a:off x="884238" y="744538"/>
            <a:ext cx="8568123" cy="452437"/>
          </a:xfrm>
        </p:spPr>
        <p:txBody>
          <a:bodyPr/>
          <a:lstStyle/>
          <a:p>
            <a:r>
              <a:rPr lang="es-PE" dirty="0" smtClean="0"/>
              <a:t>Gestión de la </a:t>
            </a:r>
            <a:r>
              <a:rPr lang="es-PE" dirty="0" smtClean="0"/>
              <a:t>Configuración</a:t>
            </a:r>
            <a:endParaRPr lang="en-US" dirty="0"/>
          </a:p>
        </p:txBody>
      </p:sp>
      <p:grpSp>
        <p:nvGrpSpPr>
          <p:cNvPr id="4" name="Grupo 3"/>
          <p:cNvGrpSpPr>
            <a:grpSpLocks noChangeAspect="1"/>
          </p:cNvGrpSpPr>
          <p:nvPr/>
        </p:nvGrpSpPr>
        <p:grpSpPr>
          <a:xfrm>
            <a:off x="1492015" y="1517033"/>
            <a:ext cx="2510329" cy="2592464"/>
            <a:chOff x="1840812" y="4968388"/>
            <a:chExt cx="1825694" cy="1885428"/>
          </a:xfrm>
        </p:grpSpPr>
        <p:sp>
          <p:nvSpPr>
            <p:cNvPr id="5" name="Trapecio 5"/>
            <p:cNvSpPr/>
            <p:nvPr/>
          </p:nvSpPr>
          <p:spPr>
            <a:xfrm rot="5400000">
              <a:off x="2266592" y="5453902"/>
              <a:ext cx="1885427" cy="914401"/>
            </a:xfrm>
            <a:custGeom>
              <a:avLst/>
              <a:gdLst>
                <a:gd name="connsiteX0" fmla="*/ 0 w 1885427"/>
                <a:gd name="connsiteY0" fmla="*/ 914401 h 914401"/>
                <a:gd name="connsiteX1" fmla="*/ 322948 w 1885427"/>
                <a:gd name="connsiteY1" fmla="*/ 0 h 914401"/>
                <a:gd name="connsiteX2" fmla="*/ 1562479 w 1885427"/>
                <a:gd name="connsiteY2" fmla="*/ 0 h 914401"/>
                <a:gd name="connsiteX3" fmla="*/ 1885427 w 1885427"/>
                <a:gd name="connsiteY3" fmla="*/ 914401 h 914401"/>
                <a:gd name="connsiteX4" fmla="*/ 0 w 1885427"/>
                <a:gd name="connsiteY4" fmla="*/ 914401 h 914401"/>
                <a:gd name="connsiteX0" fmla="*/ 0 w 1885427"/>
                <a:gd name="connsiteY0" fmla="*/ 914401 h 914401"/>
                <a:gd name="connsiteX1" fmla="*/ 322948 w 1885427"/>
                <a:gd name="connsiteY1" fmla="*/ 0 h 914401"/>
                <a:gd name="connsiteX2" fmla="*/ 1440559 w 1885427"/>
                <a:gd name="connsiteY2" fmla="*/ 167640 h 914401"/>
                <a:gd name="connsiteX3" fmla="*/ 1885427 w 1885427"/>
                <a:gd name="connsiteY3" fmla="*/ 914401 h 914401"/>
                <a:gd name="connsiteX4" fmla="*/ 0 w 1885427"/>
                <a:gd name="connsiteY4" fmla="*/ 914401 h 914401"/>
                <a:gd name="connsiteX0" fmla="*/ 0 w 1885427"/>
                <a:gd name="connsiteY0" fmla="*/ 914401 h 914401"/>
                <a:gd name="connsiteX1" fmla="*/ 322948 w 1885427"/>
                <a:gd name="connsiteY1" fmla="*/ 0 h 914401"/>
                <a:gd name="connsiteX2" fmla="*/ 1501519 w 1885427"/>
                <a:gd name="connsiteY2" fmla="*/ 152400 h 914401"/>
                <a:gd name="connsiteX3" fmla="*/ 1885427 w 1885427"/>
                <a:gd name="connsiteY3" fmla="*/ 914401 h 914401"/>
                <a:gd name="connsiteX4" fmla="*/ 0 w 1885427"/>
                <a:gd name="connsiteY4" fmla="*/ 914401 h 91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427" h="914401">
                  <a:moveTo>
                    <a:pt x="0" y="914401"/>
                  </a:moveTo>
                  <a:lnTo>
                    <a:pt x="322948" y="0"/>
                  </a:lnTo>
                  <a:lnTo>
                    <a:pt x="1501519" y="152400"/>
                  </a:lnTo>
                  <a:lnTo>
                    <a:pt x="1885427" y="914401"/>
                  </a:lnTo>
                  <a:lnTo>
                    <a:pt x="0" y="914401"/>
                  </a:lnTo>
                  <a:close/>
                </a:path>
              </a:pathLst>
            </a:custGeom>
            <a:solidFill>
              <a:srgbClr val="FC86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6" name="Trapecio 5"/>
            <p:cNvSpPr/>
            <p:nvPr/>
          </p:nvSpPr>
          <p:spPr>
            <a:xfrm rot="16200000" flipH="1">
              <a:off x="1355299" y="5453901"/>
              <a:ext cx="1885427" cy="914401"/>
            </a:xfrm>
            <a:custGeom>
              <a:avLst/>
              <a:gdLst>
                <a:gd name="connsiteX0" fmla="*/ 0 w 1885427"/>
                <a:gd name="connsiteY0" fmla="*/ 914401 h 914401"/>
                <a:gd name="connsiteX1" fmla="*/ 322948 w 1885427"/>
                <a:gd name="connsiteY1" fmla="*/ 0 h 914401"/>
                <a:gd name="connsiteX2" fmla="*/ 1562479 w 1885427"/>
                <a:gd name="connsiteY2" fmla="*/ 0 h 914401"/>
                <a:gd name="connsiteX3" fmla="*/ 1885427 w 1885427"/>
                <a:gd name="connsiteY3" fmla="*/ 914401 h 914401"/>
                <a:gd name="connsiteX4" fmla="*/ 0 w 1885427"/>
                <a:gd name="connsiteY4" fmla="*/ 914401 h 914401"/>
                <a:gd name="connsiteX0" fmla="*/ 0 w 1885427"/>
                <a:gd name="connsiteY0" fmla="*/ 914401 h 914401"/>
                <a:gd name="connsiteX1" fmla="*/ 322948 w 1885427"/>
                <a:gd name="connsiteY1" fmla="*/ 0 h 914401"/>
                <a:gd name="connsiteX2" fmla="*/ 1440559 w 1885427"/>
                <a:gd name="connsiteY2" fmla="*/ 167640 h 914401"/>
                <a:gd name="connsiteX3" fmla="*/ 1885427 w 1885427"/>
                <a:gd name="connsiteY3" fmla="*/ 914401 h 914401"/>
                <a:gd name="connsiteX4" fmla="*/ 0 w 1885427"/>
                <a:gd name="connsiteY4" fmla="*/ 914401 h 914401"/>
                <a:gd name="connsiteX0" fmla="*/ 0 w 1885427"/>
                <a:gd name="connsiteY0" fmla="*/ 914401 h 914401"/>
                <a:gd name="connsiteX1" fmla="*/ 322948 w 1885427"/>
                <a:gd name="connsiteY1" fmla="*/ 0 h 914401"/>
                <a:gd name="connsiteX2" fmla="*/ 1501519 w 1885427"/>
                <a:gd name="connsiteY2" fmla="*/ 152400 h 914401"/>
                <a:gd name="connsiteX3" fmla="*/ 1885427 w 1885427"/>
                <a:gd name="connsiteY3" fmla="*/ 914401 h 914401"/>
                <a:gd name="connsiteX4" fmla="*/ 0 w 1885427"/>
                <a:gd name="connsiteY4" fmla="*/ 914401 h 91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427" h="914401">
                  <a:moveTo>
                    <a:pt x="0" y="914401"/>
                  </a:moveTo>
                  <a:lnTo>
                    <a:pt x="322948" y="0"/>
                  </a:lnTo>
                  <a:lnTo>
                    <a:pt x="1501519" y="152400"/>
                  </a:lnTo>
                  <a:lnTo>
                    <a:pt x="1885427" y="914401"/>
                  </a:lnTo>
                  <a:lnTo>
                    <a:pt x="0" y="914401"/>
                  </a:lnTo>
                  <a:close/>
                </a:path>
              </a:pathLst>
            </a:custGeom>
            <a:solidFill>
              <a:srgbClr val="FC92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</p:grpSp>
      <p:grpSp>
        <p:nvGrpSpPr>
          <p:cNvPr id="48" name="Grupo 47"/>
          <p:cNvGrpSpPr>
            <a:grpSpLocks noChangeAspect="1"/>
          </p:cNvGrpSpPr>
          <p:nvPr/>
        </p:nvGrpSpPr>
        <p:grpSpPr>
          <a:xfrm>
            <a:off x="4847811" y="1517034"/>
            <a:ext cx="2510329" cy="2592464"/>
            <a:chOff x="1840812" y="4968388"/>
            <a:chExt cx="1825694" cy="1885428"/>
          </a:xfrm>
        </p:grpSpPr>
        <p:sp>
          <p:nvSpPr>
            <p:cNvPr id="49" name="Trapecio 5"/>
            <p:cNvSpPr/>
            <p:nvPr/>
          </p:nvSpPr>
          <p:spPr>
            <a:xfrm rot="5400000">
              <a:off x="2266592" y="5453902"/>
              <a:ext cx="1885427" cy="914401"/>
            </a:xfrm>
            <a:custGeom>
              <a:avLst/>
              <a:gdLst>
                <a:gd name="connsiteX0" fmla="*/ 0 w 1885427"/>
                <a:gd name="connsiteY0" fmla="*/ 914401 h 914401"/>
                <a:gd name="connsiteX1" fmla="*/ 322948 w 1885427"/>
                <a:gd name="connsiteY1" fmla="*/ 0 h 914401"/>
                <a:gd name="connsiteX2" fmla="*/ 1562479 w 1885427"/>
                <a:gd name="connsiteY2" fmla="*/ 0 h 914401"/>
                <a:gd name="connsiteX3" fmla="*/ 1885427 w 1885427"/>
                <a:gd name="connsiteY3" fmla="*/ 914401 h 914401"/>
                <a:gd name="connsiteX4" fmla="*/ 0 w 1885427"/>
                <a:gd name="connsiteY4" fmla="*/ 914401 h 914401"/>
                <a:gd name="connsiteX0" fmla="*/ 0 w 1885427"/>
                <a:gd name="connsiteY0" fmla="*/ 914401 h 914401"/>
                <a:gd name="connsiteX1" fmla="*/ 322948 w 1885427"/>
                <a:gd name="connsiteY1" fmla="*/ 0 h 914401"/>
                <a:gd name="connsiteX2" fmla="*/ 1440559 w 1885427"/>
                <a:gd name="connsiteY2" fmla="*/ 167640 h 914401"/>
                <a:gd name="connsiteX3" fmla="*/ 1885427 w 1885427"/>
                <a:gd name="connsiteY3" fmla="*/ 914401 h 914401"/>
                <a:gd name="connsiteX4" fmla="*/ 0 w 1885427"/>
                <a:gd name="connsiteY4" fmla="*/ 914401 h 914401"/>
                <a:gd name="connsiteX0" fmla="*/ 0 w 1885427"/>
                <a:gd name="connsiteY0" fmla="*/ 914401 h 914401"/>
                <a:gd name="connsiteX1" fmla="*/ 322948 w 1885427"/>
                <a:gd name="connsiteY1" fmla="*/ 0 h 914401"/>
                <a:gd name="connsiteX2" fmla="*/ 1501519 w 1885427"/>
                <a:gd name="connsiteY2" fmla="*/ 152400 h 914401"/>
                <a:gd name="connsiteX3" fmla="*/ 1885427 w 1885427"/>
                <a:gd name="connsiteY3" fmla="*/ 914401 h 914401"/>
                <a:gd name="connsiteX4" fmla="*/ 0 w 1885427"/>
                <a:gd name="connsiteY4" fmla="*/ 914401 h 91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427" h="914401">
                  <a:moveTo>
                    <a:pt x="0" y="914401"/>
                  </a:moveTo>
                  <a:lnTo>
                    <a:pt x="322948" y="0"/>
                  </a:lnTo>
                  <a:lnTo>
                    <a:pt x="1501519" y="152400"/>
                  </a:lnTo>
                  <a:lnTo>
                    <a:pt x="1885427" y="914401"/>
                  </a:lnTo>
                  <a:lnTo>
                    <a:pt x="0" y="914401"/>
                  </a:lnTo>
                  <a:close/>
                </a:path>
              </a:pathLst>
            </a:custGeom>
            <a:solidFill>
              <a:srgbClr val="79B8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50" name="Trapecio 5"/>
            <p:cNvSpPr/>
            <p:nvPr/>
          </p:nvSpPr>
          <p:spPr>
            <a:xfrm rot="16200000" flipH="1">
              <a:off x="1355299" y="5453901"/>
              <a:ext cx="1885427" cy="914401"/>
            </a:xfrm>
            <a:custGeom>
              <a:avLst/>
              <a:gdLst>
                <a:gd name="connsiteX0" fmla="*/ 0 w 1885427"/>
                <a:gd name="connsiteY0" fmla="*/ 914401 h 914401"/>
                <a:gd name="connsiteX1" fmla="*/ 322948 w 1885427"/>
                <a:gd name="connsiteY1" fmla="*/ 0 h 914401"/>
                <a:gd name="connsiteX2" fmla="*/ 1562479 w 1885427"/>
                <a:gd name="connsiteY2" fmla="*/ 0 h 914401"/>
                <a:gd name="connsiteX3" fmla="*/ 1885427 w 1885427"/>
                <a:gd name="connsiteY3" fmla="*/ 914401 h 914401"/>
                <a:gd name="connsiteX4" fmla="*/ 0 w 1885427"/>
                <a:gd name="connsiteY4" fmla="*/ 914401 h 914401"/>
                <a:gd name="connsiteX0" fmla="*/ 0 w 1885427"/>
                <a:gd name="connsiteY0" fmla="*/ 914401 h 914401"/>
                <a:gd name="connsiteX1" fmla="*/ 322948 w 1885427"/>
                <a:gd name="connsiteY1" fmla="*/ 0 h 914401"/>
                <a:gd name="connsiteX2" fmla="*/ 1440559 w 1885427"/>
                <a:gd name="connsiteY2" fmla="*/ 167640 h 914401"/>
                <a:gd name="connsiteX3" fmla="*/ 1885427 w 1885427"/>
                <a:gd name="connsiteY3" fmla="*/ 914401 h 914401"/>
                <a:gd name="connsiteX4" fmla="*/ 0 w 1885427"/>
                <a:gd name="connsiteY4" fmla="*/ 914401 h 914401"/>
                <a:gd name="connsiteX0" fmla="*/ 0 w 1885427"/>
                <a:gd name="connsiteY0" fmla="*/ 914401 h 914401"/>
                <a:gd name="connsiteX1" fmla="*/ 322948 w 1885427"/>
                <a:gd name="connsiteY1" fmla="*/ 0 h 914401"/>
                <a:gd name="connsiteX2" fmla="*/ 1501519 w 1885427"/>
                <a:gd name="connsiteY2" fmla="*/ 152400 h 914401"/>
                <a:gd name="connsiteX3" fmla="*/ 1885427 w 1885427"/>
                <a:gd name="connsiteY3" fmla="*/ 914401 h 914401"/>
                <a:gd name="connsiteX4" fmla="*/ 0 w 1885427"/>
                <a:gd name="connsiteY4" fmla="*/ 914401 h 91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427" h="914401">
                  <a:moveTo>
                    <a:pt x="0" y="914401"/>
                  </a:moveTo>
                  <a:lnTo>
                    <a:pt x="322948" y="0"/>
                  </a:lnTo>
                  <a:lnTo>
                    <a:pt x="1501519" y="152400"/>
                  </a:lnTo>
                  <a:lnTo>
                    <a:pt x="1885427" y="914401"/>
                  </a:lnTo>
                  <a:lnTo>
                    <a:pt x="0" y="914401"/>
                  </a:lnTo>
                  <a:close/>
                </a:path>
              </a:pathLst>
            </a:custGeom>
            <a:solidFill>
              <a:srgbClr val="8EC2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</p:grpSp>
      <p:grpSp>
        <p:nvGrpSpPr>
          <p:cNvPr id="51" name="Grupo 50"/>
          <p:cNvGrpSpPr>
            <a:grpSpLocks noChangeAspect="1"/>
          </p:cNvGrpSpPr>
          <p:nvPr/>
        </p:nvGrpSpPr>
        <p:grpSpPr>
          <a:xfrm>
            <a:off x="8199333" y="1517035"/>
            <a:ext cx="2510329" cy="2592464"/>
            <a:chOff x="1840812" y="4968388"/>
            <a:chExt cx="1825694" cy="1885428"/>
          </a:xfrm>
        </p:grpSpPr>
        <p:sp>
          <p:nvSpPr>
            <p:cNvPr id="52" name="Trapecio 5"/>
            <p:cNvSpPr/>
            <p:nvPr/>
          </p:nvSpPr>
          <p:spPr>
            <a:xfrm rot="5400000">
              <a:off x="2266592" y="5453902"/>
              <a:ext cx="1885427" cy="914401"/>
            </a:xfrm>
            <a:custGeom>
              <a:avLst/>
              <a:gdLst>
                <a:gd name="connsiteX0" fmla="*/ 0 w 1885427"/>
                <a:gd name="connsiteY0" fmla="*/ 914401 h 914401"/>
                <a:gd name="connsiteX1" fmla="*/ 322948 w 1885427"/>
                <a:gd name="connsiteY1" fmla="*/ 0 h 914401"/>
                <a:gd name="connsiteX2" fmla="*/ 1562479 w 1885427"/>
                <a:gd name="connsiteY2" fmla="*/ 0 h 914401"/>
                <a:gd name="connsiteX3" fmla="*/ 1885427 w 1885427"/>
                <a:gd name="connsiteY3" fmla="*/ 914401 h 914401"/>
                <a:gd name="connsiteX4" fmla="*/ 0 w 1885427"/>
                <a:gd name="connsiteY4" fmla="*/ 914401 h 914401"/>
                <a:gd name="connsiteX0" fmla="*/ 0 w 1885427"/>
                <a:gd name="connsiteY0" fmla="*/ 914401 h 914401"/>
                <a:gd name="connsiteX1" fmla="*/ 322948 w 1885427"/>
                <a:gd name="connsiteY1" fmla="*/ 0 h 914401"/>
                <a:gd name="connsiteX2" fmla="*/ 1440559 w 1885427"/>
                <a:gd name="connsiteY2" fmla="*/ 167640 h 914401"/>
                <a:gd name="connsiteX3" fmla="*/ 1885427 w 1885427"/>
                <a:gd name="connsiteY3" fmla="*/ 914401 h 914401"/>
                <a:gd name="connsiteX4" fmla="*/ 0 w 1885427"/>
                <a:gd name="connsiteY4" fmla="*/ 914401 h 914401"/>
                <a:gd name="connsiteX0" fmla="*/ 0 w 1885427"/>
                <a:gd name="connsiteY0" fmla="*/ 914401 h 914401"/>
                <a:gd name="connsiteX1" fmla="*/ 322948 w 1885427"/>
                <a:gd name="connsiteY1" fmla="*/ 0 h 914401"/>
                <a:gd name="connsiteX2" fmla="*/ 1501519 w 1885427"/>
                <a:gd name="connsiteY2" fmla="*/ 152400 h 914401"/>
                <a:gd name="connsiteX3" fmla="*/ 1885427 w 1885427"/>
                <a:gd name="connsiteY3" fmla="*/ 914401 h 914401"/>
                <a:gd name="connsiteX4" fmla="*/ 0 w 1885427"/>
                <a:gd name="connsiteY4" fmla="*/ 914401 h 91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427" h="914401">
                  <a:moveTo>
                    <a:pt x="0" y="914401"/>
                  </a:moveTo>
                  <a:lnTo>
                    <a:pt x="322948" y="0"/>
                  </a:lnTo>
                  <a:lnTo>
                    <a:pt x="1501519" y="152400"/>
                  </a:lnTo>
                  <a:lnTo>
                    <a:pt x="1885427" y="914401"/>
                  </a:lnTo>
                  <a:lnTo>
                    <a:pt x="0" y="914401"/>
                  </a:lnTo>
                  <a:close/>
                </a:path>
              </a:pathLst>
            </a:custGeom>
            <a:solidFill>
              <a:srgbClr val="357F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53" name="Trapecio 5"/>
            <p:cNvSpPr/>
            <p:nvPr/>
          </p:nvSpPr>
          <p:spPr>
            <a:xfrm rot="16200000" flipH="1">
              <a:off x="1355299" y="5453901"/>
              <a:ext cx="1885427" cy="914401"/>
            </a:xfrm>
            <a:custGeom>
              <a:avLst/>
              <a:gdLst>
                <a:gd name="connsiteX0" fmla="*/ 0 w 1885427"/>
                <a:gd name="connsiteY0" fmla="*/ 914401 h 914401"/>
                <a:gd name="connsiteX1" fmla="*/ 322948 w 1885427"/>
                <a:gd name="connsiteY1" fmla="*/ 0 h 914401"/>
                <a:gd name="connsiteX2" fmla="*/ 1562479 w 1885427"/>
                <a:gd name="connsiteY2" fmla="*/ 0 h 914401"/>
                <a:gd name="connsiteX3" fmla="*/ 1885427 w 1885427"/>
                <a:gd name="connsiteY3" fmla="*/ 914401 h 914401"/>
                <a:gd name="connsiteX4" fmla="*/ 0 w 1885427"/>
                <a:gd name="connsiteY4" fmla="*/ 914401 h 914401"/>
                <a:gd name="connsiteX0" fmla="*/ 0 w 1885427"/>
                <a:gd name="connsiteY0" fmla="*/ 914401 h 914401"/>
                <a:gd name="connsiteX1" fmla="*/ 322948 w 1885427"/>
                <a:gd name="connsiteY1" fmla="*/ 0 h 914401"/>
                <a:gd name="connsiteX2" fmla="*/ 1440559 w 1885427"/>
                <a:gd name="connsiteY2" fmla="*/ 167640 h 914401"/>
                <a:gd name="connsiteX3" fmla="*/ 1885427 w 1885427"/>
                <a:gd name="connsiteY3" fmla="*/ 914401 h 914401"/>
                <a:gd name="connsiteX4" fmla="*/ 0 w 1885427"/>
                <a:gd name="connsiteY4" fmla="*/ 914401 h 914401"/>
                <a:gd name="connsiteX0" fmla="*/ 0 w 1885427"/>
                <a:gd name="connsiteY0" fmla="*/ 914401 h 914401"/>
                <a:gd name="connsiteX1" fmla="*/ 322948 w 1885427"/>
                <a:gd name="connsiteY1" fmla="*/ 0 h 914401"/>
                <a:gd name="connsiteX2" fmla="*/ 1501519 w 1885427"/>
                <a:gd name="connsiteY2" fmla="*/ 152400 h 914401"/>
                <a:gd name="connsiteX3" fmla="*/ 1885427 w 1885427"/>
                <a:gd name="connsiteY3" fmla="*/ 914401 h 914401"/>
                <a:gd name="connsiteX4" fmla="*/ 0 w 1885427"/>
                <a:gd name="connsiteY4" fmla="*/ 914401 h 91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427" h="914401">
                  <a:moveTo>
                    <a:pt x="0" y="914401"/>
                  </a:moveTo>
                  <a:lnTo>
                    <a:pt x="322948" y="0"/>
                  </a:lnTo>
                  <a:lnTo>
                    <a:pt x="1501519" y="152400"/>
                  </a:lnTo>
                  <a:lnTo>
                    <a:pt x="1885427" y="914401"/>
                  </a:lnTo>
                  <a:lnTo>
                    <a:pt x="0" y="914401"/>
                  </a:lnTo>
                  <a:close/>
                </a:path>
              </a:pathLst>
            </a:custGeom>
            <a:solidFill>
              <a:srgbClr val="4A8FC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</p:grpSp>
      <p:sp>
        <p:nvSpPr>
          <p:cNvPr id="61" name="CuadroTexto 60"/>
          <p:cNvSpPr txBox="1"/>
          <p:nvPr/>
        </p:nvSpPr>
        <p:spPr>
          <a:xfrm>
            <a:off x="8319061" y="2242406"/>
            <a:ext cx="227514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es-ES" sz="2400" b="1" i="1" dirty="0" smtClean="0">
                <a:solidFill>
                  <a:schemeClr val="bg1"/>
                </a:solidFill>
              </a:rPr>
              <a:t>Administración de dependencias</a:t>
            </a:r>
            <a:endParaRPr lang="es-ES" altLang="es-ES" sz="2400" b="1" dirty="0">
              <a:solidFill>
                <a:schemeClr val="bg1"/>
              </a:solidFill>
            </a:endParaRPr>
          </a:p>
        </p:txBody>
      </p:sp>
      <p:sp>
        <p:nvSpPr>
          <p:cNvPr id="20" name="CuadroTexto 19"/>
          <p:cNvSpPr txBox="1"/>
          <p:nvPr/>
        </p:nvSpPr>
        <p:spPr>
          <a:xfrm>
            <a:off x="1596669" y="2242406"/>
            <a:ext cx="227514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es-ES" sz="2400" b="1" i="1" dirty="0" smtClean="0">
                <a:solidFill>
                  <a:schemeClr val="bg1"/>
                </a:solidFill>
              </a:rPr>
              <a:t>Control de versiones</a:t>
            </a:r>
            <a:endParaRPr lang="es-ES" altLang="es-ES" sz="2400" b="1" dirty="0">
              <a:solidFill>
                <a:schemeClr val="bg1"/>
              </a:solidFill>
            </a:endParaRPr>
          </a:p>
        </p:txBody>
      </p:sp>
      <p:sp>
        <p:nvSpPr>
          <p:cNvPr id="21" name="CuadroTexto 20"/>
          <p:cNvSpPr txBox="1"/>
          <p:nvPr/>
        </p:nvSpPr>
        <p:spPr>
          <a:xfrm>
            <a:off x="4960929" y="2394806"/>
            <a:ext cx="227514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es-ES" sz="2400" b="1" i="1" dirty="0" smtClean="0">
                <a:solidFill>
                  <a:schemeClr val="bg1"/>
                </a:solidFill>
              </a:rPr>
              <a:t>Versionamiento semántico</a:t>
            </a:r>
            <a:endParaRPr lang="es-ES" altLang="es-ES" sz="2400" b="1" dirty="0">
              <a:solidFill>
                <a:schemeClr val="bg1"/>
              </a:solidFill>
            </a:endParaRPr>
          </a:p>
        </p:txBody>
      </p:sp>
      <p:grpSp>
        <p:nvGrpSpPr>
          <p:cNvPr id="7" name="Grupo 6"/>
          <p:cNvGrpSpPr/>
          <p:nvPr/>
        </p:nvGrpSpPr>
        <p:grpSpPr>
          <a:xfrm>
            <a:off x="3172466" y="3894191"/>
            <a:ext cx="2510329" cy="2592464"/>
            <a:chOff x="3172466" y="3894191"/>
            <a:chExt cx="2510329" cy="2592464"/>
          </a:xfrm>
        </p:grpSpPr>
        <p:grpSp>
          <p:nvGrpSpPr>
            <p:cNvPr id="54" name="Grupo 53"/>
            <p:cNvGrpSpPr>
              <a:grpSpLocks noChangeAspect="1"/>
            </p:cNvGrpSpPr>
            <p:nvPr/>
          </p:nvGrpSpPr>
          <p:grpSpPr>
            <a:xfrm>
              <a:off x="3172466" y="3894191"/>
              <a:ext cx="2510329" cy="2592464"/>
              <a:chOff x="1840812" y="4968388"/>
              <a:chExt cx="1825694" cy="1885428"/>
            </a:xfrm>
          </p:grpSpPr>
          <p:sp>
            <p:nvSpPr>
              <p:cNvPr id="55" name="Trapecio 5"/>
              <p:cNvSpPr/>
              <p:nvPr/>
            </p:nvSpPr>
            <p:spPr>
              <a:xfrm rot="5400000">
                <a:off x="2266592" y="5453902"/>
                <a:ext cx="1885427" cy="914401"/>
              </a:xfrm>
              <a:custGeom>
                <a:avLst/>
                <a:gdLst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562479 w 1885427"/>
                  <a:gd name="connsiteY2" fmla="*/ 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440559 w 1885427"/>
                  <a:gd name="connsiteY2" fmla="*/ 16764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501519 w 1885427"/>
                  <a:gd name="connsiteY2" fmla="*/ 15240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5427" h="914401">
                    <a:moveTo>
                      <a:pt x="0" y="914401"/>
                    </a:moveTo>
                    <a:lnTo>
                      <a:pt x="322948" y="0"/>
                    </a:lnTo>
                    <a:lnTo>
                      <a:pt x="1501519" y="152400"/>
                    </a:lnTo>
                    <a:lnTo>
                      <a:pt x="1885427" y="914401"/>
                    </a:lnTo>
                    <a:lnTo>
                      <a:pt x="0" y="914401"/>
                    </a:lnTo>
                    <a:close/>
                  </a:path>
                </a:pathLst>
              </a:custGeom>
              <a:solidFill>
                <a:srgbClr val="357F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/>
              </a:p>
            </p:txBody>
          </p:sp>
          <p:sp>
            <p:nvSpPr>
              <p:cNvPr id="56" name="Trapecio 5"/>
              <p:cNvSpPr/>
              <p:nvPr/>
            </p:nvSpPr>
            <p:spPr>
              <a:xfrm rot="16200000" flipH="1">
                <a:off x="1355299" y="5453901"/>
                <a:ext cx="1885427" cy="914401"/>
              </a:xfrm>
              <a:custGeom>
                <a:avLst/>
                <a:gdLst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562479 w 1885427"/>
                  <a:gd name="connsiteY2" fmla="*/ 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440559 w 1885427"/>
                  <a:gd name="connsiteY2" fmla="*/ 16764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501519 w 1885427"/>
                  <a:gd name="connsiteY2" fmla="*/ 15240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5427" h="914401">
                    <a:moveTo>
                      <a:pt x="0" y="914401"/>
                    </a:moveTo>
                    <a:lnTo>
                      <a:pt x="322948" y="0"/>
                    </a:lnTo>
                    <a:lnTo>
                      <a:pt x="1501519" y="152400"/>
                    </a:lnTo>
                    <a:lnTo>
                      <a:pt x="1885427" y="914401"/>
                    </a:lnTo>
                    <a:lnTo>
                      <a:pt x="0" y="914401"/>
                    </a:lnTo>
                    <a:close/>
                  </a:path>
                </a:pathLst>
              </a:custGeom>
              <a:solidFill>
                <a:srgbClr val="4A8F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/>
              </a:p>
            </p:txBody>
          </p:sp>
        </p:grpSp>
        <p:sp>
          <p:nvSpPr>
            <p:cNvPr id="22" name="CuadroTexto 21"/>
            <p:cNvSpPr txBox="1"/>
            <p:nvPr/>
          </p:nvSpPr>
          <p:spPr>
            <a:xfrm>
              <a:off x="3292195" y="4619562"/>
              <a:ext cx="2275145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altLang="es-ES" sz="2400" b="1" i="1" dirty="0" smtClean="0">
                  <a:solidFill>
                    <a:schemeClr val="bg1"/>
                  </a:solidFill>
                </a:rPr>
                <a:t>Configuración de infraestructura</a:t>
              </a:r>
              <a:endParaRPr lang="es-ES" altLang="es-ES" sz="2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Grupo 7"/>
          <p:cNvGrpSpPr/>
          <p:nvPr/>
        </p:nvGrpSpPr>
        <p:grpSpPr>
          <a:xfrm>
            <a:off x="6523155" y="3894191"/>
            <a:ext cx="2510329" cy="2592464"/>
            <a:chOff x="6523155" y="3894191"/>
            <a:chExt cx="2510329" cy="2592464"/>
          </a:xfrm>
        </p:grpSpPr>
        <p:grpSp>
          <p:nvGrpSpPr>
            <p:cNvPr id="58" name="Grupo 57"/>
            <p:cNvGrpSpPr>
              <a:grpSpLocks noChangeAspect="1"/>
            </p:cNvGrpSpPr>
            <p:nvPr/>
          </p:nvGrpSpPr>
          <p:grpSpPr>
            <a:xfrm>
              <a:off x="6523155" y="3894191"/>
              <a:ext cx="2510329" cy="2592464"/>
              <a:chOff x="1840812" y="4968388"/>
              <a:chExt cx="1825694" cy="1885428"/>
            </a:xfrm>
            <a:solidFill>
              <a:srgbClr val="FFC000"/>
            </a:solidFill>
          </p:grpSpPr>
          <p:sp>
            <p:nvSpPr>
              <p:cNvPr id="59" name="Trapecio 5"/>
              <p:cNvSpPr/>
              <p:nvPr/>
            </p:nvSpPr>
            <p:spPr>
              <a:xfrm rot="5400000">
                <a:off x="2266592" y="5453902"/>
                <a:ext cx="1885427" cy="914401"/>
              </a:xfrm>
              <a:custGeom>
                <a:avLst/>
                <a:gdLst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562479 w 1885427"/>
                  <a:gd name="connsiteY2" fmla="*/ 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440559 w 1885427"/>
                  <a:gd name="connsiteY2" fmla="*/ 16764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501519 w 1885427"/>
                  <a:gd name="connsiteY2" fmla="*/ 15240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5427" h="914401">
                    <a:moveTo>
                      <a:pt x="0" y="914401"/>
                    </a:moveTo>
                    <a:lnTo>
                      <a:pt x="322948" y="0"/>
                    </a:lnTo>
                    <a:lnTo>
                      <a:pt x="1501519" y="152400"/>
                    </a:lnTo>
                    <a:lnTo>
                      <a:pt x="1885427" y="914401"/>
                    </a:lnTo>
                    <a:lnTo>
                      <a:pt x="0" y="91440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/>
              </a:p>
            </p:txBody>
          </p:sp>
          <p:sp>
            <p:nvSpPr>
              <p:cNvPr id="60" name="Trapecio 5"/>
              <p:cNvSpPr/>
              <p:nvPr/>
            </p:nvSpPr>
            <p:spPr>
              <a:xfrm rot="16200000" flipH="1">
                <a:off x="1355299" y="5453901"/>
                <a:ext cx="1885427" cy="914401"/>
              </a:xfrm>
              <a:custGeom>
                <a:avLst/>
                <a:gdLst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562479 w 1885427"/>
                  <a:gd name="connsiteY2" fmla="*/ 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440559 w 1885427"/>
                  <a:gd name="connsiteY2" fmla="*/ 16764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501519 w 1885427"/>
                  <a:gd name="connsiteY2" fmla="*/ 15240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5427" h="914401">
                    <a:moveTo>
                      <a:pt x="0" y="914401"/>
                    </a:moveTo>
                    <a:lnTo>
                      <a:pt x="322948" y="0"/>
                    </a:lnTo>
                    <a:lnTo>
                      <a:pt x="1501519" y="152400"/>
                    </a:lnTo>
                    <a:lnTo>
                      <a:pt x="1885427" y="914401"/>
                    </a:lnTo>
                    <a:lnTo>
                      <a:pt x="0" y="914401"/>
                    </a:lnTo>
                    <a:close/>
                  </a:path>
                </a:pathLst>
              </a:custGeom>
              <a:solidFill>
                <a:srgbClr val="FFCC2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/>
              </a:p>
            </p:txBody>
          </p:sp>
        </p:grpSp>
        <p:sp>
          <p:nvSpPr>
            <p:cNvPr id="23" name="CuadroTexto 22"/>
            <p:cNvSpPr txBox="1"/>
            <p:nvPr/>
          </p:nvSpPr>
          <p:spPr>
            <a:xfrm>
              <a:off x="6642883" y="4619561"/>
              <a:ext cx="227514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altLang="es-ES" sz="2400" b="1" i="1" dirty="0" smtClean="0">
                  <a:solidFill>
                    <a:schemeClr val="bg1"/>
                  </a:solidFill>
                </a:rPr>
                <a:t>Configuración de aplicaciones</a:t>
              </a:r>
              <a:endParaRPr lang="es-ES" altLang="es-ES" sz="24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61930" y="81697"/>
            <a:ext cx="2170848" cy="8720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292674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PE" dirty="0" smtClean="0"/>
              <a:t>Gestión de la configuración</a:t>
            </a:r>
            <a:endParaRPr lang="es-PE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1"/>
          </p:nvPr>
        </p:nvSpPr>
        <p:spPr>
          <a:xfrm>
            <a:off x="884238" y="744538"/>
            <a:ext cx="8568123" cy="452437"/>
          </a:xfrm>
        </p:spPr>
        <p:txBody>
          <a:bodyPr/>
          <a:lstStyle/>
          <a:p>
            <a:r>
              <a:rPr lang="es-PE" dirty="0" smtClean="0"/>
              <a:t>Prácticas de </a:t>
            </a:r>
            <a:r>
              <a:rPr lang="es-PE" dirty="0" smtClean="0"/>
              <a:t>Desarrollo </a:t>
            </a:r>
            <a:r>
              <a:rPr lang="es-PE" dirty="0" smtClean="0"/>
              <a:t>de </a:t>
            </a:r>
            <a:r>
              <a:rPr lang="es-PE" dirty="0" smtClean="0"/>
              <a:t>Software </a:t>
            </a:r>
            <a:r>
              <a:rPr lang="es-PE" dirty="0" smtClean="0"/>
              <a:t>F</a:t>
            </a:r>
            <a:r>
              <a:rPr lang="es-PE" dirty="0" smtClean="0"/>
              <a:t>undamentales </a:t>
            </a:r>
            <a:r>
              <a:rPr lang="es-PE" dirty="0" smtClean="0"/>
              <a:t>para </a:t>
            </a:r>
            <a:r>
              <a:rPr lang="es-PE" dirty="0" smtClean="0"/>
              <a:t>Implantar </a:t>
            </a:r>
            <a:r>
              <a:rPr lang="es-PE" dirty="0" smtClean="0"/>
              <a:t>DevOps</a:t>
            </a:r>
            <a:endParaRPr lang="en-US" dirty="0"/>
          </a:p>
        </p:txBody>
      </p:sp>
      <p:grpSp>
        <p:nvGrpSpPr>
          <p:cNvPr id="8" name="Grupo 7"/>
          <p:cNvGrpSpPr/>
          <p:nvPr/>
        </p:nvGrpSpPr>
        <p:grpSpPr>
          <a:xfrm>
            <a:off x="1492015" y="1655572"/>
            <a:ext cx="2510329" cy="2592464"/>
            <a:chOff x="1492015" y="1517033"/>
            <a:chExt cx="2510329" cy="2592464"/>
          </a:xfrm>
        </p:grpSpPr>
        <p:grpSp>
          <p:nvGrpSpPr>
            <p:cNvPr id="4" name="Grupo 3"/>
            <p:cNvGrpSpPr>
              <a:grpSpLocks noChangeAspect="1"/>
            </p:cNvGrpSpPr>
            <p:nvPr/>
          </p:nvGrpSpPr>
          <p:grpSpPr>
            <a:xfrm>
              <a:off x="1492015" y="1517033"/>
              <a:ext cx="2510329" cy="2592464"/>
              <a:chOff x="1840812" y="4968388"/>
              <a:chExt cx="1825694" cy="1885428"/>
            </a:xfrm>
          </p:grpSpPr>
          <p:sp>
            <p:nvSpPr>
              <p:cNvPr id="5" name="Trapecio 5"/>
              <p:cNvSpPr/>
              <p:nvPr/>
            </p:nvSpPr>
            <p:spPr>
              <a:xfrm rot="5400000">
                <a:off x="2266592" y="5453902"/>
                <a:ext cx="1885427" cy="914401"/>
              </a:xfrm>
              <a:custGeom>
                <a:avLst/>
                <a:gdLst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562479 w 1885427"/>
                  <a:gd name="connsiteY2" fmla="*/ 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440559 w 1885427"/>
                  <a:gd name="connsiteY2" fmla="*/ 16764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501519 w 1885427"/>
                  <a:gd name="connsiteY2" fmla="*/ 15240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5427" h="914401">
                    <a:moveTo>
                      <a:pt x="0" y="914401"/>
                    </a:moveTo>
                    <a:lnTo>
                      <a:pt x="322948" y="0"/>
                    </a:lnTo>
                    <a:lnTo>
                      <a:pt x="1501519" y="152400"/>
                    </a:lnTo>
                    <a:lnTo>
                      <a:pt x="1885427" y="914401"/>
                    </a:lnTo>
                    <a:lnTo>
                      <a:pt x="0" y="914401"/>
                    </a:lnTo>
                    <a:close/>
                  </a:path>
                </a:pathLst>
              </a:custGeom>
              <a:solidFill>
                <a:srgbClr val="FC863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/>
              </a:p>
            </p:txBody>
          </p:sp>
          <p:sp>
            <p:nvSpPr>
              <p:cNvPr id="6" name="Trapecio 5"/>
              <p:cNvSpPr/>
              <p:nvPr/>
            </p:nvSpPr>
            <p:spPr>
              <a:xfrm rot="16200000" flipH="1">
                <a:off x="1355299" y="5453901"/>
                <a:ext cx="1885427" cy="914401"/>
              </a:xfrm>
              <a:custGeom>
                <a:avLst/>
                <a:gdLst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562479 w 1885427"/>
                  <a:gd name="connsiteY2" fmla="*/ 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440559 w 1885427"/>
                  <a:gd name="connsiteY2" fmla="*/ 16764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501519 w 1885427"/>
                  <a:gd name="connsiteY2" fmla="*/ 15240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5427" h="914401">
                    <a:moveTo>
                      <a:pt x="0" y="914401"/>
                    </a:moveTo>
                    <a:lnTo>
                      <a:pt x="322948" y="0"/>
                    </a:lnTo>
                    <a:lnTo>
                      <a:pt x="1501519" y="152400"/>
                    </a:lnTo>
                    <a:lnTo>
                      <a:pt x="1885427" y="914401"/>
                    </a:lnTo>
                    <a:lnTo>
                      <a:pt x="0" y="914401"/>
                    </a:lnTo>
                    <a:close/>
                  </a:path>
                </a:pathLst>
              </a:custGeom>
              <a:solidFill>
                <a:srgbClr val="FC924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/>
              </a:p>
            </p:txBody>
          </p:sp>
        </p:grpSp>
        <p:sp>
          <p:nvSpPr>
            <p:cNvPr id="20" name="CuadroTexto 19"/>
            <p:cNvSpPr txBox="1"/>
            <p:nvPr/>
          </p:nvSpPr>
          <p:spPr>
            <a:xfrm>
              <a:off x="1596669" y="2242406"/>
              <a:ext cx="227514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altLang="es-ES" sz="2400" b="1" i="1" dirty="0" smtClean="0">
                  <a:solidFill>
                    <a:schemeClr val="bg1"/>
                  </a:solidFill>
                </a:rPr>
                <a:t>Control de </a:t>
              </a:r>
              <a:r>
                <a:rPr lang="es-ES" altLang="es-ES" sz="2400" b="1" i="1" dirty="0" smtClean="0">
                  <a:solidFill>
                    <a:schemeClr val="bg1"/>
                  </a:solidFill>
                </a:rPr>
                <a:t>Versiones</a:t>
              </a:r>
              <a:endParaRPr lang="es-ES" altLang="es-ES" sz="24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7" name="Imagen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9124" y="3211942"/>
            <a:ext cx="6991363" cy="2665732"/>
          </a:xfrm>
          <a:prstGeom prst="rect">
            <a:avLst/>
          </a:prstGeom>
        </p:spPr>
      </p:pic>
      <p:sp>
        <p:nvSpPr>
          <p:cNvPr id="26" name="24 Rectángulo"/>
          <p:cNvSpPr>
            <a:spLocks noChangeArrowheads="1"/>
          </p:cNvSpPr>
          <p:nvPr/>
        </p:nvSpPr>
        <p:spPr bwMode="auto">
          <a:xfrm>
            <a:off x="4199124" y="1555798"/>
            <a:ext cx="7221330" cy="867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182562" lvl="1" indent="0" algn="just" eaLnBrk="1" hangingPunct="1">
              <a:lnSpc>
                <a:spcPct val="90000"/>
              </a:lnSpc>
              <a:buClr>
                <a:srgbClr val="FF0000"/>
              </a:buClr>
            </a:pPr>
            <a:r>
              <a:rPr lang="es-ES" altLang="es-ES" sz="2000" b="1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ntrol de </a:t>
            </a:r>
            <a:r>
              <a:rPr lang="es-ES" altLang="es-ES" sz="2000" b="1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Versiones</a:t>
            </a:r>
            <a:endParaRPr lang="es-ES" altLang="es-ES" sz="2000" b="1" dirty="0" smtClean="0">
              <a:solidFill>
                <a:srgbClr val="4454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468312" lvl="1" algn="just" eaLnBrk="1" hangingPunct="1">
              <a:lnSpc>
                <a:spcPct val="9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s-ES" altLang="es-ES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rácticas de versionamiento de código</a:t>
            </a:r>
          </a:p>
          <a:p>
            <a:pPr marL="468312" lvl="1" algn="just" eaLnBrk="1" hangingPunct="1">
              <a:lnSpc>
                <a:spcPct val="9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s-ES" altLang="es-ES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estión de las ramas</a:t>
            </a: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18356" y="33079"/>
            <a:ext cx="2205038" cy="885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3987076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o 10"/>
          <p:cNvGrpSpPr>
            <a:grpSpLocks noChangeAspect="1"/>
          </p:cNvGrpSpPr>
          <p:nvPr/>
        </p:nvGrpSpPr>
        <p:grpSpPr>
          <a:xfrm>
            <a:off x="1494152" y="1655573"/>
            <a:ext cx="2510329" cy="2592464"/>
            <a:chOff x="1840812" y="4968388"/>
            <a:chExt cx="1825694" cy="1885428"/>
          </a:xfrm>
        </p:grpSpPr>
        <p:sp>
          <p:nvSpPr>
            <p:cNvPr id="12" name="Trapecio 5"/>
            <p:cNvSpPr/>
            <p:nvPr/>
          </p:nvSpPr>
          <p:spPr>
            <a:xfrm rot="5400000">
              <a:off x="2266592" y="5453902"/>
              <a:ext cx="1885427" cy="914401"/>
            </a:xfrm>
            <a:custGeom>
              <a:avLst/>
              <a:gdLst>
                <a:gd name="connsiteX0" fmla="*/ 0 w 1885427"/>
                <a:gd name="connsiteY0" fmla="*/ 914401 h 914401"/>
                <a:gd name="connsiteX1" fmla="*/ 322948 w 1885427"/>
                <a:gd name="connsiteY1" fmla="*/ 0 h 914401"/>
                <a:gd name="connsiteX2" fmla="*/ 1562479 w 1885427"/>
                <a:gd name="connsiteY2" fmla="*/ 0 h 914401"/>
                <a:gd name="connsiteX3" fmla="*/ 1885427 w 1885427"/>
                <a:gd name="connsiteY3" fmla="*/ 914401 h 914401"/>
                <a:gd name="connsiteX4" fmla="*/ 0 w 1885427"/>
                <a:gd name="connsiteY4" fmla="*/ 914401 h 914401"/>
                <a:gd name="connsiteX0" fmla="*/ 0 w 1885427"/>
                <a:gd name="connsiteY0" fmla="*/ 914401 h 914401"/>
                <a:gd name="connsiteX1" fmla="*/ 322948 w 1885427"/>
                <a:gd name="connsiteY1" fmla="*/ 0 h 914401"/>
                <a:gd name="connsiteX2" fmla="*/ 1440559 w 1885427"/>
                <a:gd name="connsiteY2" fmla="*/ 167640 h 914401"/>
                <a:gd name="connsiteX3" fmla="*/ 1885427 w 1885427"/>
                <a:gd name="connsiteY3" fmla="*/ 914401 h 914401"/>
                <a:gd name="connsiteX4" fmla="*/ 0 w 1885427"/>
                <a:gd name="connsiteY4" fmla="*/ 914401 h 914401"/>
                <a:gd name="connsiteX0" fmla="*/ 0 w 1885427"/>
                <a:gd name="connsiteY0" fmla="*/ 914401 h 914401"/>
                <a:gd name="connsiteX1" fmla="*/ 322948 w 1885427"/>
                <a:gd name="connsiteY1" fmla="*/ 0 h 914401"/>
                <a:gd name="connsiteX2" fmla="*/ 1501519 w 1885427"/>
                <a:gd name="connsiteY2" fmla="*/ 152400 h 914401"/>
                <a:gd name="connsiteX3" fmla="*/ 1885427 w 1885427"/>
                <a:gd name="connsiteY3" fmla="*/ 914401 h 914401"/>
                <a:gd name="connsiteX4" fmla="*/ 0 w 1885427"/>
                <a:gd name="connsiteY4" fmla="*/ 914401 h 91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427" h="914401">
                  <a:moveTo>
                    <a:pt x="0" y="914401"/>
                  </a:moveTo>
                  <a:lnTo>
                    <a:pt x="322948" y="0"/>
                  </a:lnTo>
                  <a:lnTo>
                    <a:pt x="1501519" y="152400"/>
                  </a:lnTo>
                  <a:lnTo>
                    <a:pt x="1885427" y="914401"/>
                  </a:lnTo>
                  <a:lnTo>
                    <a:pt x="0" y="914401"/>
                  </a:lnTo>
                  <a:close/>
                </a:path>
              </a:pathLst>
            </a:custGeom>
            <a:solidFill>
              <a:srgbClr val="79B8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13" name="Trapecio 5"/>
            <p:cNvSpPr/>
            <p:nvPr/>
          </p:nvSpPr>
          <p:spPr>
            <a:xfrm rot="16200000" flipH="1">
              <a:off x="1355299" y="5453901"/>
              <a:ext cx="1885427" cy="914401"/>
            </a:xfrm>
            <a:custGeom>
              <a:avLst/>
              <a:gdLst>
                <a:gd name="connsiteX0" fmla="*/ 0 w 1885427"/>
                <a:gd name="connsiteY0" fmla="*/ 914401 h 914401"/>
                <a:gd name="connsiteX1" fmla="*/ 322948 w 1885427"/>
                <a:gd name="connsiteY1" fmla="*/ 0 h 914401"/>
                <a:gd name="connsiteX2" fmla="*/ 1562479 w 1885427"/>
                <a:gd name="connsiteY2" fmla="*/ 0 h 914401"/>
                <a:gd name="connsiteX3" fmla="*/ 1885427 w 1885427"/>
                <a:gd name="connsiteY3" fmla="*/ 914401 h 914401"/>
                <a:gd name="connsiteX4" fmla="*/ 0 w 1885427"/>
                <a:gd name="connsiteY4" fmla="*/ 914401 h 914401"/>
                <a:gd name="connsiteX0" fmla="*/ 0 w 1885427"/>
                <a:gd name="connsiteY0" fmla="*/ 914401 h 914401"/>
                <a:gd name="connsiteX1" fmla="*/ 322948 w 1885427"/>
                <a:gd name="connsiteY1" fmla="*/ 0 h 914401"/>
                <a:gd name="connsiteX2" fmla="*/ 1440559 w 1885427"/>
                <a:gd name="connsiteY2" fmla="*/ 167640 h 914401"/>
                <a:gd name="connsiteX3" fmla="*/ 1885427 w 1885427"/>
                <a:gd name="connsiteY3" fmla="*/ 914401 h 914401"/>
                <a:gd name="connsiteX4" fmla="*/ 0 w 1885427"/>
                <a:gd name="connsiteY4" fmla="*/ 914401 h 914401"/>
                <a:gd name="connsiteX0" fmla="*/ 0 w 1885427"/>
                <a:gd name="connsiteY0" fmla="*/ 914401 h 914401"/>
                <a:gd name="connsiteX1" fmla="*/ 322948 w 1885427"/>
                <a:gd name="connsiteY1" fmla="*/ 0 h 914401"/>
                <a:gd name="connsiteX2" fmla="*/ 1501519 w 1885427"/>
                <a:gd name="connsiteY2" fmla="*/ 152400 h 914401"/>
                <a:gd name="connsiteX3" fmla="*/ 1885427 w 1885427"/>
                <a:gd name="connsiteY3" fmla="*/ 914401 h 914401"/>
                <a:gd name="connsiteX4" fmla="*/ 0 w 1885427"/>
                <a:gd name="connsiteY4" fmla="*/ 914401 h 91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427" h="914401">
                  <a:moveTo>
                    <a:pt x="0" y="914401"/>
                  </a:moveTo>
                  <a:lnTo>
                    <a:pt x="322948" y="0"/>
                  </a:lnTo>
                  <a:lnTo>
                    <a:pt x="1501519" y="152400"/>
                  </a:lnTo>
                  <a:lnTo>
                    <a:pt x="1885427" y="914401"/>
                  </a:lnTo>
                  <a:lnTo>
                    <a:pt x="0" y="914401"/>
                  </a:lnTo>
                  <a:close/>
                </a:path>
              </a:pathLst>
            </a:custGeom>
            <a:solidFill>
              <a:srgbClr val="8EC2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</p:grpSp>
      <p:sp>
        <p:nvSpPr>
          <p:cNvPr id="2" name="Marcador de texto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PE" dirty="0" smtClean="0"/>
              <a:t>Gestión de la configuración</a:t>
            </a:r>
            <a:endParaRPr lang="es-PE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1"/>
          </p:nvPr>
        </p:nvSpPr>
        <p:spPr>
          <a:xfrm>
            <a:off x="884238" y="744538"/>
            <a:ext cx="8568123" cy="452437"/>
          </a:xfrm>
        </p:spPr>
        <p:txBody>
          <a:bodyPr/>
          <a:lstStyle/>
          <a:p>
            <a:r>
              <a:rPr lang="es-PE" dirty="0" smtClean="0"/>
              <a:t>Prácticas de desarrollo de software fundamentales para implantar DevOps</a:t>
            </a:r>
            <a:endParaRPr lang="en-US" dirty="0"/>
          </a:p>
        </p:txBody>
      </p:sp>
      <p:sp>
        <p:nvSpPr>
          <p:cNvPr id="26" name="24 Rectángulo"/>
          <p:cNvSpPr>
            <a:spLocks noChangeArrowheads="1"/>
          </p:cNvSpPr>
          <p:nvPr/>
        </p:nvSpPr>
        <p:spPr bwMode="auto">
          <a:xfrm>
            <a:off x="4199124" y="1555798"/>
            <a:ext cx="7221330" cy="1117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182562" lvl="1" indent="0" algn="just" eaLnBrk="1" hangingPunct="1">
              <a:lnSpc>
                <a:spcPct val="90000"/>
              </a:lnSpc>
              <a:buClr>
                <a:srgbClr val="FF0000"/>
              </a:buClr>
            </a:pPr>
            <a:r>
              <a:rPr lang="es-ES" altLang="es-ES" sz="2000" b="1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Versionamiento semántico</a:t>
            </a:r>
          </a:p>
          <a:p>
            <a:pPr marL="468312" lvl="1" algn="just" eaLnBrk="1" hangingPunct="1">
              <a:lnSpc>
                <a:spcPct val="9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s-ES" altLang="es-ES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ayor</a:t>
            </a:r>
          </a:p>
          <a:p>
            <a:pPr marL="468312" lvl="1" algn="just" eaLnBrk="1" hangingPunct="1">
              <a:lnSpc>
                <a:spcPct val="9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s-ES" altLang="es-ES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inor</a:t>
            </a:r>
            <a:endParaRPr lang="es-ES" altLang="es-ES" dirty="0" smtClean="0">
              <a:solidFill>
                <a:srgbClr val="4454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468312" lvl="1" algn="just" eaLnBrk="1" hangingPunct="1">
              <a:lnSpc>
                <a:spcPct val="9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s-ES" altLang="es-ES" dirty="0" err="1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atch</a:t>
            </a:r>
            <a:endParaRPr lang="es-ES" altLang="es-ES" dirty="0" smtClean="0">
              <a:solidFill>
                <a:srgbClr val="4454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CuadroTexto 13"/>
          <p:cNvSpPr txBox="1"/>
          <p:nvPr/>
        </p:nvSpPr>
        <p:spPr>
          <a:xfrm>
            <a:off x="1607270" y="2533345"/>
            <a:ext cx="227514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es-ES" sz="2400" b="1" i="1" dirty="0" smtClean="0">
                <a:solidFill>
                  <a:schemeClr val="bg1"/>
                </a:solidFill>
              </a:rPr>
              <a:t>Versionamiento semántico</a:t>
            </a:r>
            <a:endParaRPr lang="es-ES" altLang="es-ES" sz="2400" b="1" dirty="0">
              <a:solidFill>
                <a:schemeClr val="bg1"/>
              </a:solidFill>
            </a:endParaRPr>
          </a:p>
        </p:txBody>
      </p:sp>
      <p:pic>
        <p:nvPicPr>
          <p:cNvPr id="9218" name="Picture 2" descr="Resultado de imagen para versionamiento semantic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9414" y="3131803"/>
            <a:ext cx="6000750" cy="2686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18357" y="16603"/>
            <a:ext cx="2205038" cy="885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0528259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o 3"/>
          <p:cNvGrpSpPr/>
          <p:nvPr/>
        </p:nvGrpSpPr>
        <p:grpSpPr>
          <a:xfrm>
            <a:off x="1494152" y="1655574"/>
            <a:ext cx="2510329" cy="2592464"/>
            <a:chOff x="8199333" y="1517035"/>
            <a:chExt cx="2510329" cy="2592464"/>
          </a:xfrm>
        </p:grpSpPr>
        <p:grpSp>
          <p:nvGrpSpPr>
            <p:cNvPr id="10" name="Grupo 9"/>
            <p:cNvGrpSpPr>
              <a:grpSpLocks noChangeAspect="1"/>
            </p:cNvGrpSpPr>
            <p:nvPr/>
          </p:nvGrpSpPr>
          <p:grpSpPr>
            <a:xfrm>
              <a:off x="8199333" y="1517035"/>
              <a:ext cx="2510329" cy="2592464"/>
              <a:chOff x="1840812" y="4968388"/>
              <a:chExt cx="1825694" cy="1885428"/>
            </a:xfrm>
          </p:grpSpPr>
          <p:sp>
            <p:nvSpPr>
              <p:cNvPr id="15" name="Trapecio 5"/>
              <p:cNvSpPr/>
              <p:nvPr/>
            </p:nvSpPr>
            <p:spPr>
              <a:xfrm rot="5400000">
                <a:off x="2266592" y="5453902"/>
                <a:ext cx="1885427" cy="914401"/>
              </a:xfrm>
              <a:custGeom>
                <a:avLst/>
                <a:gdLst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562479 w 1885427"/>
                  <a:gd name="connsiteY2" fmla="*/ 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440559 w 1885427"/>
                  <a:gd name="connsiteY2" fmla="*/ 16764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501519 w 1885427"/>
                  <a:gd name="connsiteY2" fmla="*/ 15240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5427" h="914401">
                    <a:moveTo>
                      <a:pt x="0" y="914401"/>
                    </a:moveTo>
                    <a:lnTo>
                      <a:pt x="322948" y="0"/>
                    </a:lnTo>
                    <a:lnTo>
                      <a:pt x="1501519" y="152400"/>
                    </a:lnTo>
                    <a:lnTo>
                      <a:pt x="1885427" y="914401"/>
                    </a:lnTo>
                    <a:lnTo>
                      <a:pt x="0" y="914401"/>
                    </a:lnTo>
                    <a:close/>
                  </a:path>
                </a:pathLst>
              </a:custGeom>
              <a:solidFill>
                <a:srgbClr val="357F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 dirty="0"/>
              </a:p>
            </p:txBody>
          </p:sp>
          <p:sp>
            <p:nvSpPr>
              <p:cNvPr id="16" name="Trapecio 5"/>
              <p:cNvSpPr/>
              <p:nvPr/>
            </p:nvSpPr>
            <p:spPr>
              <a:xfrm rot="16200000" flipH="1">
                <a:off x="1355299" y="5453901"/>
                <a:ext cx="1885427" cy="914401"/>
              </a:xfrm>
              <a:custGeom>
                <a:avLst/>
                <a:gdLst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562479 w 1885427"/>
                  <a:gd name="connsiteY2" fmla="*/ 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440559 w 1885427"/>
                  <a:gd name="connsiteY2" fmla="*/ 16764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  <a:gd name="connsiteX0" fmla="*/ 0 w 1885427"/>
                  <a:gd name="connsiteY0" fmla="*/ 914401 h 914401"/>
                  <a:gd name="connsiteX1" fmla="*/ 322948 w 1885427"/>
                  <a:gd name="connsiteY1" fmla="*/ 0 h 914401"/>
                  <a:gd name="connsiteX2" fmla="*/ 1501519 w 1885427"/>
                  <a:gd name="connsiteY2" fmla="*/ 152400 h 914401"/>
                  <a:gd name="connsiteX3" fmla="*/ 1885427 w 1885427"/>
                  <a:gd name="connsiteY3" fmla="*/ 914401 h 914401"/>
                  <a:gd name="connsiteX4" fmla="*/ 0 w 1885427"/>
                  <a:gd name="connsiteY4" fmla="*/ 914401 h 914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5427" h="914401">
                    <a:moveTo>
                      <a:pt x="0" y="914401"/>
                    </a:moveTo>
                    <a:lnTo>
                      <a:pt x="322948" y="0"/>
                    </a:lnTo>
                    <a:lnTo>
                      <a:pt x="1501519" y="152400"/>
                    </a:lnTo>
                    <a:lnTo>
                      <a:pt x="1885427" y="914401"/>
                    </a:lnTo>
                    <a:lnTo>
                      <a:pt x="0" y="914401"/>
                    </a:lnTo>
                    <a:close/>
                  </a:path>
                </a:pathLst>
              </a:custGeom>
              <a:solidFill>
                <a:srgbClr val="4A8F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 dirty="0"/>
              </a:p>
            </p:txBody>
          </p:sp>
        </p:grpSp>
        <p:sp>
          <p:nvSpPr>
            <p:cNvPr id="17" name="CuadroTexto 16"/>
            <p:cNvSpPr txBox="1"/>
            <p:nvPr/>
          </p:nvSpPr>
          <p:spPr>
            <a:xfrm>
              <a:off x="8319061" y="2242406"/>
              <a:ext cx="2275145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altLang="es-ES" sz="2400" b="1" i="1" dirty="0" smtClean="0">
                  <a:solidFill>
                    <a:schemeClr val="bg1"/>
                  </a:solidFill>
                </a:rPr>
                <a:t>Administración de dependencias</a:t>
              </a:r>
              <a:endParaRPr lang="es-ES" altLang="es-ES" sz="2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Marcador de texto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PE" dirty="0" smtClean="0"/>
              <a:t>Gestión de la configuración</a:t>
            </a:r>
            <a:endParaRPr lang="es-PE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1"/>
          </p:nvPr>
        </p:nvSpPr>
        <p:spPr>
          <a:xfrm>
            <a:off x="884238" y="744538"/>
            <a:ext cx="8568123" cy="452437"/>
          </a:xfrm>
        </p:spPr>
        <p:txBody>
          <a:bodyPr/>
          <a:lstStyle/>
          <a:p>
            <a:r>
              <a:rPr lang="es-PE" dirty="0" smtClean="0"/>
              <a:t>Prácticas de desarrollo de software fundamentales para implantar DevOps</a:t>
            </a:r>
            <a:endParaRPr lang="en-US" dirty="0"/>
          </a:p>
        </p:txBody>
      </p:sp>
      <p:sp>
        <p:nvSpPr>
          <p:cNvPr id="26" name="24 Rectángulo"/>
          <p:cNvSpPr>
            <a:spLocks noChangeArrowheads="1"/>
          </p:cNvSpPr>
          <p:nvPr/>
        </p:nvSpPr>
        <p:spPr bwMode="auto">
          <a:xfrm>
            <a:off x="4199124" y="1555798"/>
            <a:ext cx="7221330" cy="1117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182562" lvl="1" indent="0" algn="just" eaLnBrk="1" hangingPunct="1">
              <a:lnSpc>
                <a:spcPct val="90000"/>
              </a:lnSpc>
              <a:buClr>
                <a:srgbClr val="FF0000"/>
              </a:buClr>
            </a:pPr>
            <a:r>
              <a:rPr lang="es-ES" altLang="es-ES" sz="2000" b="1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dministración de dependencias</a:t>
            </a:r>
          </a:p>
          <a:p>
            <a:pPr marL="468312" lvl="1" algn="just" eaLnBrk="1" hangingPunct="1">
              <a:lnSpc>
                <a:spcPct val="9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s-ES" altLang="es-ES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positorio local</a:t>
            </a:r>
          </a:p>
          <a:p>
            <a:pPr marL="468312" lvl="1" algn="just" eaLnBrk="1" hangingPunct="1">
              <a:lnSpc>
                <a:spcPct val="9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s-ES" altLang="es-ES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positorio remoto</a:t>
            </a:r>
          </a:p>
          <a:p>
            <a:pPr marL="468312" lvl="1" algn="just" eaLnBrk="1" hangingPunct="1">
              <a:lnSpc>
                <a:spcPct val="9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s-ES" altLang="es-ES" dirty="0" smtClean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positorio virtual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99124" y="3031850"/>
            <a:ext cx="7038975" cy="3667125"/>
          </a:xfrm>
          <a:prstGeom prst="rect">
            <a:avLst/>
          </a:prstGeom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18357" y="16603"/>
            <a:ext cx="2205038" cy="885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2250458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999</TotalTime>
  <Words>889</Words>
  <Application>Microsoft Office PowerPoint</Application>
  <PresentationFormat>Personalizado</PresentationFormat>
  <Paragraphs>220</Paragraphs>
  <Slides>17</Slides>
  <Notes>9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7</vt:i4>
      </vt:variant>
    </vt:vector>
  </HeadingPairs>
  <TitlesOfParts>
    <vt:vector size="19" baseType="lpstr">
      <vt:lpstr>Tema de Office</vt:lpstr>
      <vt:lpstr>think-cell Slide</vt:lpstr>
      <vt:lpstr>Presentación de PowerPoint</vt:lpstr>
      <vt:lpstr>Fundamentos de DevOps  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Giancarlo Renato Palomino Huallpa</dc:creator>
  <cp:lastModifiedBy>PC01-Innnovacis</cp:lastModifiedBy>
  <cp:revision>885</cp:revision>
  <cp:lastPrinted>2019-05-22T18:16:35Z</cp:lastPrinted>
  <dcterms:created xsi:type="dcterms:W3CDTF">2019-05-20T22:30:34Z</dcterms:created>
  <dcterms:modified xsi:type="dcterms:W3CDTF">2019-10-10T17:07:37Z</dcterms:modified>
</cp:coreProperties>
</file>